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70"/>
  </p:notesMasterIdLst>
  <p:sldIdLst>
    <p:sldId id="2134806392" r:id="rId2"/>
    <p:sldId id="2134805691" r:id="rId3"/>
    <p:sldId id="2147483018" r:id="rId4"/>
    <p:sldId id="2147483019" r:id="rId5"/>
    <p:sldId id="2134805743" r:id="rId6"/>
    <p:sldId id="2134806736" r:id="rId7"/>
    <p:sldId id="2147482448" r:id="rId8"/>
    <p:sldId id="2134805696" r:id="rId9"/>
    <p:sldId id="2147483021" r:id="rId10"/>
    <p:sldId id="2147483022" r:id="rId11"/>
    <p:sldId id="2147483063" r:id="rId12"/>
    <p:sldId id="2134805758" r:id="rId13"/>
    <p:sldId id="2134805798" r:id="rId14"/>
    <p:sldId id="2147483064" r:id="rId15"/>
    <p:sldId id="2147482946" r:id="rId16"/>
    <p:sldId id="2147483065" r:id="rId17"/>
    <p:sldId id="2147483075" r:id="rId18"/>
    <p:sldId id="2147482890" r:id="rId19"/>
    <p:sldId id="2147482949" r:id="rId20"/>
    <p:sldId id="2147482950" r:id="rId21"/>
    <p:sldId id="2147482951" r:id="rId22"/>
    <p:sldId id="2147482952" r:id="rId23"/>
    <p:sldId id="2147482953" r:id="rId24"/>
    <p:sldId id="2147482958" r:id="rId25"/>
    <p:sldId id="2147482959" r:id="rId26"/>
    <p:sldId id="2147482957" r:id="rId27"/>
    <p:sldId id="2147483031" r:id="rId28"/>
    <p:sldId id="2147483066" r:id="rId29"/>
    <p:sldId id="2147482960" r:id="rId30"/>
    <p:sldId id="2147483023" r:id="rId31"/>
    <p:sldId id="2147483024" r:id="rId32"/>
    <p:sldId id="2147483027" r:id="rId33"/>
    <p:sldId id="2147483028" r:id="rId34"/>
    <p:sldId id="2147483029" r:id="rId35"/>
    <p:sldId id="2147483030" r:id="rId36"/>
    <p:sldId id="2134805628" r:id="rId37"/>
    <p:sldId id="2147482906" r:id="rId38"/>
    <p:sldId id="2147482974" r:id="rId39"/>
    <p:sldId id="2147483034" r:id="rId40"/>
    <p:sldId id="2147483035" r:id="rId41"/>
    <p:sldId id="2147483036" r:id="rId42"/>
    <p:sldId id="2147483038" r:id="rId43"/>
    <p:sldId id="2147483039" r:id="rId44"/>
    <p:sldId id="2147483040" r:id="rId45"/>
    <p:sldId id="2147483041" r:id="rId46"/>
    <p:sldId id="2147482956" r:id="rId47"/>
    <p:sldId id="2147483032" r:id="rId48"/>
    <p:sldId id="2147483059" r:id="rId49"/>
    <p:sldId id="2147483060" r:id="rId50"/>
    <p:sldId id="2147483061" r:id="rId51"/>
    <p:sldId id="2134805631" r:id="rId52"/>
    <p:sldId id="2147483068" r:id="rId53"/>
    <p:sldId id="2147483069" r:id="rId54"/>
    <p:sldId id="2147483070" r:id="rId55"/>
    <p:sldId id="2147483072" r:id="rId56"/>
    <p:sldId id="2147483073" r:id="rId57"/>
    <p:sldId id="2147483074" r:id="rId58"/>
    <p:sldId id="2147483067" r:id="rId59"/>
    <p:sldId id="2147483042" r:id="rId60"/>
    <p:sldId id="2147483009" r:id="rId61"/>
    <p:sldId id="2147482757" r:id="rId62"/>
    <p:sldId id="2147483044" r:id="rId63"/>
    <p:sldId id="2147483043" r:id="rId64"/>
    <p:sldId id="2134805789" r:id="rId65"/>
    <p:sldId id="2147482542" r:id="rId66"/>
    <p:sldId id="2134805640" r:id="rId67"/>
    <p:sldId id="2134806758" r:id="rId68"/>
    <p:sldId id="2147483058" r:id="rId69"/>
  </p:sldIdLst>
  <p:sldSz cx="9144000" cy="6858000" type="screen4x3"/>
  <p:notesSz cx="6858000" cy="9144000"/>
  <p:embeddedFontLst>
    <p:embeddedFont>
      <p:font typeface="A Massir Ballpoint" panose="020B0604020202020204" charset="0"/>
      <p:bold r:id="rId71"/>
    </p:embeddedFont>
    <p:embeddedFont>
      <p:font typeface="Air Strip Arabic" panose="020B0604020202020204" charset="0"/>
      <p:regular r:id="rId72"/>
    </p:embeddedFont>
    <p:embeddedFont>
      <p:font typeface="Cambria" panose="02040503050406030204" pitchFamily="18" charset="0"/>
      <p:regular r:id="rId73"/>
      <p:bold r:id="rId74"/>
      <p:italic r:id="rId75"/>
      <p:boldItalic r:id="rId76"/>
    </p:embeddedFont>
    <p:embeddedFont>
      <p:font typeface="Dosis" pitchFamily="2" charset="0"/>
      <p:regular r:id="rId77"/>
      <p:bold r:id="rId78"/>
    </p:embeddedFont>
    <p:embeddedFont>
      <p:font typeface="Microsoft Uighur" panose="02000000000000000000" pitchFamily="2" charset="-78"/>
      <p:regular r:id="rId79"/>
      <p:bold r:id="rId80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D812D27-39E2-A8D0-1774-6898D33A5069}" name="Hassan" initials="H" userId="4f1ce5f858d7b98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6585"/>
    <a:srgbClr val="8FB9C6"/>
    <a:srgbClr val="FF0000"/>
    <a:srgbClr val="106583"/>
    <a:srgbClr val="39B3D3"/>
    <a:srgbClr val="E2F0D9"/>
    <a:srgbClr val="2B7589"/>
    <a:srgbClr val="DDE5CA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D083AE6-46FA-4A59-8FB0-9F97EB10719F}" styleName="Style léger 3 - Accentuation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27102A9-8310-4765-A935-A1911B00CA55}" styleName="Style léger 1 - Accentuation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29" autoAdjust="0"/>
    <p:restoredTop sz="94724" autoAdjust="0"/>
  </p:normalViewPr>
  <p:slideViewPr>
    <p:cSldViewPr>
      <p:cViewPr varScale="1">
        <p:scale>
          <a:sx n="82" d="100"/>
          <a:sy n="82" d="100"/>
        </p:scale>
        <p:origin x="1454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ableStyles" Target="tableStyle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font" Target="fonts/font4.fntdata"/><Relationship Id="rId79" Type="http://schemas.openxmlformats.org/officeDocument/2006/relationships/font" Target="fonts/font9.fntdata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font" Target="fonts/font7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font" Target="fonts/font2.fntdata"/><Relationship Id="rId80" Type="http://schemas.openxmlformats.org/officeDocument/2006/relationships/font" Target="fonts/font10.fntdata"/><Relationship Id="rId85" Type="http://schemas.microsoft.com/office/2018/10/relationships/authors" Target="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font" Target="fonts/font5.fntdata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font" Target="fonts/font3.fntdata"/><Relationship Id="rId78" Type="http://schemas.openxmlformats.org/officeDocument/2006/relationships/font" Target="fonts/font8.fntdata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font" Target="fonts/font6.fntdata"/><Relationship Id="rId7" Type="http://schemas.openxmlformats.org/officeDocument/2006/relationships/slide" Target="slides/slide6.xml"/><Relationship Id="rId71" Type="http://schemas.openxmlformats.org/officeDocument/2006/relationships/font" Target="fonts/font1.fntdata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61" Type="http://schemas.openxmlformats.org/officeDocument/2006/relationships/slide" Target="slides/slide60.xml"/><Relationship Id="rId8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214B42-1664-46C0-B647-D9C6F3702B5F}" type="datetimeFigureOut">
              <a:rPr lang="fr-MA" smtClean="0"/>
              <a:t>23/10/2025</a:t>
            </a:fld>
            <a:endParaRPr lang="fr-M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MA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3E172F-30D2-4F6B-A25F-D947D32F4201}" type="slidenum">
              <a:rPr lang="fr-MA" smtClean="0"/>
              <a:t>‹N°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460292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AE87F-B08A-4342-80EC-80A3A2B8D41A}" type="slidenum">
              <a:rPr kumimoji="0" lang="fr-M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M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4108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MA" dirty="0"/>
              <a:t>لائحة دروس الوحدة المعنية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32FDA-7F24-48C4-A241-88DEF0A6202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18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E1AD65-66C9-4C6C-B5BA-F29D7E838D6C}" type="datetimeFigureOut">
              <a:rPr lang="fr-FR" smtClean="0"/>
              <a:t>23/10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248CE0-23E8-436C-933A-44A767B8655A}" type="slidenum">
              <a:rPr lang="fr-FR" smtClean="0"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4.svg"/><Relationship Id="rId7" Type="http://schemas.openxmlformats.org/officeDocument/2006/relationships/image" Target="../media/image3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jpeg"/><Relationship Id="rId5" Type="http://schemas.openxmlformats.org/officeDocument/2006/relationships/image" Target="../media/image34.png"/><Relationship Id="rId10" Type="http://schemas.openxmlformats.org/officeDocument/2006/relationships/image" Target="../media/image38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11" Type="http://schemas.openxmlformats.org/officeDocument/2006/relationships/image" Target="../media/image34.png"/><Relationship Id="rId5" Type="http://schemas.openxmlformats.org/officeDocument/2006/relationships/image" Target="../media/image9.jpeg"/><Relationship Id="rId10" Type="http://schemas.openxmlformats.org/officeDocument/2006/relationships/image" Target="../media/image15.png"/><Relationship Id="rId4" Type="http://schemas.openxmlformats.org/officeDocument/2006/relationships/image" Target="../media/image12.emf"/><Relationship Id="rId9" Type="http://schemas.openxmlformats.org/officeDocument/2006/relationships/image" Target="../media/image3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4.png"/><Relationship Id="rId4" Type="http://schemas.openxmlformats.org/officeDocument/2006/relationships/image" Target="../media/image42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11" Type="http://schemas.openxmlformats.org/officeDocument/2006/relationships/image" Target="../media/image34.png"/><Relationship Id="rId5" Type="http://schemas.openxmlformats.org/officeDocument/2006/relationships/image" Target="../media/image9.jpeg"/><Relationship Id="rId10" Type="http://schemas.openxmlformats.org/officeDocument/2006/relationships/image" Target="../media/image15.png"/><Relationship Id="rId4" Type="http://schemas.openxmlformats.org/officeDocument/2006/relationships/image" Target="../media/image12.emf"/><Relationship Id="rId9" Type="http://schemas.openxmlformats.org/officeDocument/2006/relationships/image" Target="../media/image33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11" Type="http://schemas.openxmlformats.org/officeDocument/2006/relationships/image" Target="../media/image34.png"/><Relationship Id="rId5" Type="http://schemas.openxmlformats.org/officeDocument/2006/relationships/image" Target="../media/image9.jpeg"/><Relationship Id="rId10" Type="http://schemas.openxmlformats.org/officeDocument/2006/relationships/image" Target="../media/image15.png"/><Relationship Id="rId4" Type="http://schemas.openxmlformats.org/officeDocument/2006/relationships/image" Target="../media/image12.emf"/><Relationship Id="rId9" Type="http://schemas.openxmlformats.org/officeDocument/2006/relationships/image" Target="../media/image33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11.sv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1.png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11" Type="http://schemas.openxmlformats.org/officeDocument/2006/relationships/image" Target="../media/image16.png"/><Relationship Id="rId5" Type="http://schemas.openxmlformats.org/officeDocument/2006/relationships/image" Target="../media/image9.jpe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image" Target="../media/image12.emf"/><Relationship Id="rId9" Type="http://schemas.openxmlformats.org/officeDocument/2006/relationships/image" Target="../media/image14.svg"/><Relationship Id="rId14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11" Type="http://schemas.openxmlformats.org/officeDocument/2006/relationships/image" Target="../media/image34.png"/><Relationship Id="rId5" Type="http://schemas.openxmlformats.org/officeDocument/2006/relationships/image" Target="../media/image9.jpeg"/><Relationship Id="rId10" Type="http://schemas.openxmlformats.org/officeDocument/2006/relationships/image" Target="../media/image15.png"/><Relationship Id="rId4" Type="http://schemas.openxmlformats.org/officeDocument/2006/relationships/image" Target="../media/image12.emf"/><Relationship Id="rId9" Type="http://schemas.openxmlformats.org/officeDocument/2006/relationships/image" Target="../media/image33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24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5" Type="http://schemas.openxmlformats.org/officeDocument/2006/relationships/image" Target="../media/image47.png"/><Relationship Id="rId4" Type="http://schemas.openxmlformats.org/officeDocument/2006/relationships/image" Target="../media/image24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5" Type="http://schemas.openxmlformats.org/officeDocument/2006/relationships/image" Target="../media/image47.png"/><Relationship Id="rId4" Type="http://schemas.openxmlformats.org/officeDocument/2006/relationships/image" Target="../media/image2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12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image" Target="../media/image49.png"/><Relationship Id="rId5" Type="http://schemas.openxmlformats.org/officeDocument/2006/relationships/image" Target="../media/image47.png"/><Relationship Id="rId4" Type="http://schemas.openxmlformats.org/officeDocument/2006/relationships/image" Target="../media/image24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6" Type="http://schemas.openxmlformats.org/officeDocument/2006/relationships/image" Target="../media/image49.png"/><Relationship Id="rId5" Type="http://schemas.openxmlformats.org/officeDocument/2006/relationships/image" Target="../media/image47.png"/><Relationship Id="rId4" Type="http://schemas.openxmlformats.org/officeDocument/2006/relationships/image" Target="../media/image24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6" Type="http://schemas.openxmlformats.org/officeDocument/2006/relationships/image" Target="../media/image49.png"/><Relationship Id="rId5" Type="http://schemas.openxmlformats.org/officeDocument/2006/relationships/image" Target="../media/image47.png"/><Relationship Id="rId4" Type="http://schemas.openxmlformats.org/officeDocument/2006/relationships/image" Target="../media/image24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6" Type="http://schemas.openxmlformats.org/officeDocument/2006/relationships/image" Target="../media/image49.png"/><Relationship Id="rId5" Type="http://schemas.openxmlformats.org/officeDocument/2006/relationships/image" Target="../media/image47.png"/><Relationship Id="rId4" Type="http://schemas.openxmlformats.org/officeDocument/2006/relationships/image" Target="../media/image24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6" Type="http://schemas.openxmlformats.org/officeDocument/2006/relationships/image" Target="../media/image50.png"/><Relationship Id="rId5" Type="http://schemas.openxmlformats.org/officeDocument/2006/relationships/image" Target="../media/image47.png"/><Relationship Id="rId4" Type="http://schemas.openxmlformats.org/officeDocument/2006/relationships/image" Target="../media/image24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6" Type="http://schemas.openxmlformats.org/officeDocument/2006/relationships/image" Target="../media/image49.png"/><Relationship Id="rId5" Type="http://schemas.openxmlformats.org/officeDocument/2006/relationships/image" Target="../media/image47.png"/><Relationship Id="rId4" Type="http://schemas.openxmlformats.org/officeDocument/2006/relationships/image" Target="../media/image24.sv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2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12.emf"/><Relationship Id="rId9" Type="http://schemas.openxmlformats.org/officeDocument/2006/relationships/image" Target="../media/image20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jpe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11" Type="http://schemas.openxmlformats.org/officeDocument/2006/relationships/image" Target="../media/image34.png"/><Relationship Id="rId5" Type="http://schemas.openxmlformats.org/officeDocument/2006/relationships/image" Target="../media/image9.jpeg"/><Relationship Id="rId10" Type="http://schemas.openxmlformats.org/officeDocument/2006/relationships/image" Target="../media/image15.png"/><Relationship Id="rId4" Type="http://schemas.openxmlformats.org/officeDocument/2006/relationships/image" Target="../media/image12.emf"/><Relationship Id="rId9" Type="http://schemas.openxmlformats.org/officeDocument/2006/relationships/image" Target="../media/image33.sv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3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png"/><Relationship Id="rId4" Type="http://schemas.openxmlformats.org/officeDocument/2006/relationships/image" Target="../media/image55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3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3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2.svg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6" Type="http://schemas.openxmlformats.org/officeDocument/2006/relationships/image" Target="../media/image2.png"/><Relationship Id="rId11" Type="http://schemas.openxmlformats.org/officeDocument/2006/relationships/image" Target="../media/image30.png"/><Relationship Id="rId5" Type="http://schemas.openxmlformats.org/officeDocument/2006/relationships/image" Target="../media/image9.jpeg"/><Relationship Id="rId10" Type="http://schemas.openxmlformats.org/officeDocument/2006/relationships/image" Target="../media/image15.png"/><Relationship Id="rId4" Type="http://schemas.openxmlformats.org/officeDocument/2006/relationships/image" Target="../media/image12.emf"/><Relationship Id="rId9" Type="http://schemas.openxmlformats.org/officeDocument/2006/relationships/image" Target="../media/image33.sv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34.png"/><Relationship Id="rId4" Type="http://schemas.openxmlformats.org/officeDocument/2006/relationships/image" Target="../media/image5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34.png"/><Relationship Id="rId4" Type="http://schemas.openxmlformats.org/officeDocument/2006/relationships/image" Target="../media/image57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png"/><Relationship Id="rId4" Type="http://schemas.openxmlformats.org/officeDocument/2006/relationships/image" Target="../media/image5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5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58.png"/><Relationship Id="rId4" Type="http://schemas.openxmlformats.org/officeDocument/2006/relationships/image" Target="../media/image5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Relationship Id="rId5" Type="http://schemas.openxmlformats.org/officeDocument/2006/relationships/image" Target="../media/image20.png"/><Relationship Id="rId4" Type="http://schemas.openxmlformats.org/officeDocument/2006/relationships/image" Target="../media/image57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2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12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svg"/><Relationship Id="rId5" Type="http://schemas.openxmlformats.org/officeDocument/2006/relationships/image" Target="../media/image4.png"/><Relationship Id="rId4" Type="http://schemas.openxmlformats.org/officeDocument/2006/relationships/image" Target="../media/image32.sv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0.jpe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2.png"/><Relationship Id="rId4" Type="http://schemas.openxmlformats.org/officeDocument/2006/relationships/image" Target="../media/image6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13" Type="http://schemas.openxmlformats.org/officeDocument/2006/relationships/image" Target="../media/image31.png"/><Relationship Id="rId3" Type="http://schemas.openxmlformats.org/officeDocument/2006/relationships/tags" Target="../tags/tag6.xml"/><Relationship Id="rId7" Type="http://schemas.openxmlformats.org/officeDocument/2006/relationships/image" Target="../media/image24.svg"/><Relationship Id="rId12" Type="http://schemas.openxmlformats.org/officeDocument/2006/relationships/image" Target="../media/image30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3.png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8.png"/><Relationship Id="rId4" Type="http://schemas.openxmlformats.org/officeDocument/2006/relationships/tags" Target="../tags/tag7.xml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11" Type="http://schemas.openxmlformats.org/officeDocument/2006/relationships/image" Target="../media/image34.png"/><Relationship Id="rId5" Type="http://schemas.openxmlformats.org/officeDocument/2006/relationships/image" Target="../media/image9.jpeg"/><Relationship Id="rId10" Type="http://schemas.openxmlformats.org/officeDocument/2006/relationships/image" Target="../media/image15.png"/><Relationship Id="rId4" Type="http://schemas.openxmlformats.org/officeDocument/2006/relationships/image" Target="../media/image12.emf"/><Relationship Id="rId9" Type="http://schemas.openxmlformats.org/officeDocument/2006/relationships/image" Target="../media/image3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24.svg"/><Relationship Id="rId7" Type="http://schemas.openxmlformats.org/officeDocument/2006/relationships/image" Target="../media/image37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5198816"/>
            <a:ext cx="1342175" cy="1663803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7328010" y="4980071"/>
            <a:ext cx="1778216" cy="1877929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F439A893-7805-D980-5101-BA0263AA3481}"/>
              </a:ext>
            </a:extLst>
          </p:cNvPr>
          <p:cNvGrpSpPr/>
          <p:nvPr/>
        </p:nvGrpSpPr>
        <p:grpSpPr>
          <a:xfrm>
            <a:off x="6796058" y="727432"/>
            <a:ext cx="1838633" cy="1406564"/>
            <a:chOff x="6796058" y="727432"/>
            <a:chExt cx="1838633" cy="1406564"/>
          </a:xfrm>
        </p:grpSpPr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8CB2B29E-1F2E-8276-4837-F1DA3E2CE711}"/>
                </a:ext>
              </a:extLst>
            </p:cNvPr>
            <p:cNvSpPr/>
            <p:nvPr/>
          </p:nvSpPr>
          <p:spPr>
            <a:xfrm>
              <a:off x="6953564" y="727432"/>
              <a:ext cx="1488271" cy="1374815"/>
            </a:xfrm>
            <a:custGeom>
              <a:avLst/>
              <a:gdLst/>
              <a:ahLst/>
              <a:cxnLst/>
              <a:rect l="l" t="t" r="r" b="b"/>
              <a:pathLst>
                <a:path w="1446572" h="1650653">
                  <a:moveTo>
                    <a:pt x="0" y="0"/>
                  </a:moveTo>
                  <a:lnTo>
                    <a:pt x="1446572" y="0"/>
                  </a:lnTo>
                  <a:lnTo>
                    <a:pt x="1446572" y="1650653"/>
                  </a:lnTo>
                  <a:lnTo>
                    <a:pt x="0" y="165065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6796058" y="1008772"/>
              <a:ext cx="1838633" cy="436017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609630" rtl="0" eaLnBrk="1" fontAlgn="auto" latinLnBrk="0" hangingPunct="1">
                <a:lnSpc>
                  <a:spcPts val="3426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3200" b="1" i="0" u="none" strike="noStrike" kern="0" cap="none" spc="0" normalizeH="0" baseline="0" noProof="0" dirty="0">
                  <a:ln>
                    <a:noFill/>
                  </a:ln>
                  <a:solidFill>
                    <a:srgbClr val="4BACC6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المستوى</a:t>
              </a:r>
              <a:endPara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10BC63D7-3460-ED8E-6790-47C68BC4E22B}"/>
                </a:ext>
              </a:extLst>
            </p:cNvPr>
            <p:cNvSpPr txBox="1"/>
            <p:nvPr/>
          </p:nvSpPr>
          <p:spPr>
            <a:xfrm>
              <a:off x="7240499" y="1487665"/>
              <a:ext cx="9144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MA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5</a:t>
              </a:r>
              <a:r>
                <a:rPr kumimoji="0" lang="fr-MA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+</a:t>
              </a:r>
              <a:r>
                <a:rPr kumimoji="0" lang="fr-MA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6</a:t>
              </a:r>
            </a:p>
          </p:txBody>
        </p:sp>
      </p:grpSp>
      <p:sp>
        <p:nvSpPr>
          <p:cNvPr id="9" name="TextBox 7">
            <a:extLst>
              <a:ext uri="{FF2B5EF4-FFF2-40B4-BE49-F238E27FC236}">
                <a16:creationId xmlns:a16="http://schemas.microsoft.com/office/drawing/2014/main" id="{45B0A1E8-F2BA-31DC-A793-BDED4E478A5A}"/>
              </a:ext>
            </a:extLst>
          </p:cNvPr>
          <p:cNvSpPr txBox="1"/>
          <p:nvPr/>
        </p:nvSpPr>
        <p:spPr>
          <a:xfrm>
            <a:off x="2285747" y="5073967"/>
            <a:ext cx="4642105" cy="410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6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مرحلة 1</a:t>
            </a:r>
            <a:endParaRPr kumimoji="0" lang="fr-MA" sz="2667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050" name="Picture 2" descr="الصفحة الرئيسية">
            <a:extLst>
              <a:ext uri="{FF2B5EF4-FFF2-40B4-BE49-F238E27FC236}">
                <a16:creationId xmlns:a16="http://schemas.microsoft.com/office/drawing/2014/main" id="{6639833F-3EB5-41FA-6625-3CC8E815B4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5" y="270881"/>
            <a:ext cx="4888354" cy="741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3">
            <a:extLst>
              <a:ext uri="{FF2B5EF4-FFF2-40B4-BE49-F238E27FC236}">
                <a16:creationId xmlns:a16="http://schemas.microsoft.com/office/drawing/2014/main" id="{B496C20E-A4D5-ECF0-CE17-C1657F5D0827}"/>
              </a:ext>
            </a:extLst>
          </p:cNvPr>
          <p:cNvSpPr txBox="1"/>
          <p:nvPr/>
        </p:nvSpPr>
        <p:spPr>
          <a:xfrm>
            <a:off x="2042989" y="1376411"/>
            <a:ext cx="4642105" cy="7438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2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7200" b="1" i="0" u="none" strike="noStrike" kern="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رياضيات</a:t>
            </a:r>
            <a:endParaRPr kumimoji="0" lang="en-US" sz="7200" b="1" i="0" u="none" strike="noStrike" kern="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" name="ZoneTexte 4">
            <a:extLst>
              <a:ext uri="{FF2B5EF4-FFF2-40B4-BE49-F238E27FC236}">
                <a16:creationId xmlns:a16="http://schemas.microsoft.com/office/drawing/2014/main" id="{354B17B4-09FA-4F91-64F9-F9FCFC22C266}"/>
              </a:ext>
            </a:extLst>
          </p:cNvPr>
          <p:cNvSpPr txBox="1"/>
          <p:nvPr/>
        </p:nvSpPr>
        <p:spPr>
          <a:xfrm>
            <a:off x="2631441" y="6166787"/>
            <a:ext cx="402335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333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سخة تجريبية موجهة لمؤسسات الريادة</a:t>
            </a:r>
          </a:p>
          <a:p>
            <a:pPr marL="0" marR="0" lvl="0" indent="0" algn="ctr" defTabSz="60963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333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سخة قيد التطوير</a:t>
            </a:r>
          </a:p>
        </p:txBody>
      </p:sp>
      <p:grpSp>
        <p:nvGrpSpPr>
          <p:cNvPr id="8" name="Groupe 3">
            <a:extLst>
              <a:ext uri="{FF2B5EF4-FFF2-40B4-BE49-F238E27FC236}">
                <a16:creationId xmlns:a16="http://schemas.microsoft.com/office/drawing/2014/main" id="{845C87BE-5C94-84DE-7590-85F7E7EFDB74}"/>
              </a:ext>
            </a:extLst>
          </p:cNvPr>
          <p:cNvGrpSpPr/>
          <p:nvPr/>
        </p:nvGrpSpPr>
        <p:grpSpPr>
          <a:xfrm>
            <a:off x="2901647" y="4828849"/>
            <a:ext cx="2870202" cy="1485418"/>
            <a:chOff x="3170335" y="4786248"/>
            <a:chExt cx="2870202" cy="1485418"/>
          </a:xfrm>
        </p:grpSpPr>
        <p:grpSp>
          <p:nvGrpSpPr>
            <p:cNvPr id="12" name="Groupe 101">
              <a:extLst>
                <a:ext uri="{FF2B5EF4-FFF2-40B4-BE49-F238E27FC236}">
                  <a16:creationId xmlns:a16="http://schemas.microsoft.com/office/drawing/2014/main" id="{50178863-1E61-BBD3-974E-7CE7F8D1F50D}"/>
                </a:ext>
              </a:extLst>
            </p:cNvPr>
            <p:cNvGrpSpPr/>
            <p:nvPr/>
          </p:nvGrpSpPr>
          <p:grpSpPr>
            <a:xfrm flipH="1">
              <a:off x="3170335" y="4786248"/>
              <a:ext cx="2870202" cy="1485418"/>
              <a:chOff x="2068770" y="4907335"/>
              <a:chExt cx="3171009" cy="1485418"/>
            </a:xfrm>
          </p:grpSpPr>
          <p:sp>
            <p:nvSpPr>
              <p:cNvPr id="15" name="Forme libre : forme 100">
                <a:extLst>
                  <a:ext uri="{FF2B5EF4-FFF2-40B4-BE49-F238E27FC236}">
                    <a16:creationId xmlns:a16="http://schemas.microsoft.com/office/drawing/2014/main" id="{7FEA2829-ACBC-8E74-CD35-23D6100095EC}"/>
                  </a:ext>
                </a:extLst>
              </p:cNvPr>
              <p:cNvSpPr/>
              <p:nvPr/>
            </p:nvSpPr>
            <p:spPr>
              <a:xfrm rot="21338648" flipV="1">
                <a:off x="2726380" y="5512138"/>
                <a:ext cx="2513399" cy="880615"/>
              </a:xfrm>
              <a:custGeom>
                <a:avLst/>
                <a:gdLst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6902"/>
                  <a:gd name="connsiteX1" fmla="*/ 2706255 w 2969491"/>
                  <a:gd name="connsiteY1" fmla="*/ 0 h 656902"/>
                  <a:gd name="connsiteX2" fmla="*/ 2890982 w 2969491"/>
                  <a:gd name="connsiteY2" fmla="*/ 78509 h 656902"/>
                  <a:gd name="connsiteX3" fmla="*/ 2969491 w 2969491"/>
                  <a:gd name="connsiteY3" fmla="*/ 258618 h 656902"/>
                  <a:gd name="connsiteX4" fmla="*/ 2872509 w 2969491"/>
                  <a:gd name="connsiteY4" fmla="*/ 378691 h 656902"/>
                  <a:gd name="connsiteX5" fmla="*/ 170873 w 2969491"/>
                  <a:gd name="connsiteY5" fmla="*/ 651164 h 656902"/>
                  <a:gd name="connsiteX6" fmla="*/ 9236 w 2969491"/>
                  <a:gd name="connsiteY6" fmla="*/ 531091 h 656902"/>
                  <a:gd name="connsiteX7" fmla="*/ 0 w 2969491"/>
                  <a:gd name="connsiteY7" fmla="*/ 207818 h 656902"/>
                  <a:gd name="connsiteX8" fmla="*/ 138545 w 2969491"/>
                  <a:gd name="connsiteY8" fmla="*/ 124691 h 656902"/>
                  <a:gd name="connsiteX0" fmla="*/ 138545 w 2969491"/>
                  <a:gd name="connsiteY0" fmla="*/ 124890 h 657101"/>
                  <a:gd name="connsiteX1" fmla="*/ 2706255 w 2969491"/>
                  <a:gd name="connsiteY1" fmla="*/ 199 h 657101"/>
                  <a:gd name="connsiteX2" fmla="*/ 2890982 w 2969491"/>
                  <a:gd name="connsiteY2" fmla="*/ 78708 h 657101"/>
                  <a:gd name="connsiteX3" fmla="*/ 2969491 w 2969491"/>
                  <a:gd name="connsiteY3" fmla="*/ 258817 h 657101"/>
                  <a:gd name="connsiteX4" fmla="*/ 2872509 w 2969491"/>
                  <a:gd name="connsiteY4" fmla="*/ 378890 h 657101"/>
                  <a:gd name="connsiteX5" fmla="*/ 170873 w 2969491"/>
                  <a:gd name="connsiteY5" fmla="*/ 651363 h 657101"/>
                  <a:gd name="connsiteX6" fmla="*/ 9236 w 2969491"/>
                  <a:gd name="connsiteY6" fmla="*/ 531290 h 657101"/>
                  <a:gd name="connsiteX7" fmla="*/ 0 w 2969491"/>
                  <a:gd name="connsiteY7" fmla="*/ 208017 h 657101"/>
                  <a:gd name="connsiteX8" fmla="*/ 138545 w 2969491"/>
                  <a:gd name="connsiteY8" fmla="*/ 124890 h 657101"/>
                  <a:gd name="connsiteX0" fmla="*/ 138545 w 2969491"/>
                  <a:gd name="connsiteY0" fmla="*/ 125008 h 657219"/>
                  <a:gd name="connsiteX1" fmla="*/ 2706255 w 2969491"/>
                  <a:gd name="connsiteY1" fmla="*/ 317 h 657219"/>
                  <a:gd name="connsiteX2" fmla="*/ 2890982 w 2969491"/>
                  <a:gd name="connsiteY2" fmla="*/ 78826 h 657219"/>
                  <a:gd name="connsiteX3" fmla="*/ 2969491 w 2969491"/>
                  <a:gd name="connsiteY3" fmla="*/ 258935 h 657219"/>
                  <a:gd name="connsiteX4" fmla="*/ 2872509 w 2969491"/>
                  <a:gd name="connsiteY4" fmla="*/ 379008 h 657219"/>
                  <a:gd name="connsiteX5" fmla="*/ 170873 w 2969491"/>
                  <a:gd name="connsiteY5" fmla="*/ 651481 h 657219"/>
                  <a:gd name="connsiteX6" fmla="*/ 9236 w 2969491"/>
                  <a:gd name="connsiteY6" fmla="*/ 531408 h 657219"/>
                  <a:gd name="connsiteX7" fmla="*/ 0 w 2969491"/>
                  <a:gd name="connsiteY7" fmla="*/ 208135 h 657219"/>
                  <a:gd name="connsiteX8" fmla="*/ 138545 w 2969491"/>
                  <a:gd name="connsiteY8" fmla="*/ 125008 h 657219"/>
                  <a:gd name="connsiteX0" fmla="*/ 138545 w 2972005"/>
                  <a:gd name="connsiteY0" fmla="*/ 125008 h 657219"/>
                  <a:gd name="connsiteX1" fmla="*/ 2706255 w 2972005"/>
                  <a:gd name="connsiteY1" fmla="*/ 317 h 657219"/>
                  <a:gd name="connsiteX2" fmla="*/ 2890982 w 2972005"/>
                  <a:gd name="connsiteY2" fmla="*/ 78826 h 657219"/>
                  <a:gd name="connsiteX3" fmla="*/ 2969491 w 2972005"/>
                  <a:gd name="connsiteY3" fmla="*/ 258935 h 657219"/>
                  <a:gd name="connsiteX4" fmla="*/ 2872509 w 2972005"/>
                  <a:gd name="connsiteY4" fmla="*/ 379008 h 657219"/>
                  <a:gd name="connsiteX5" fmla="*/ 170873 w 2972005"/>
                  <a:gd name="connsiteY5" fmla="*/ 651481 h 657219"/>
                  <a:gd name="connsiteX6" fmla="*/ 9236 w 2972005"/>
                  <a:gd name="connsiteY6" fmla="*/ 531408 h 657219"/>
                  <a:gd name="connsiteX7" fmla="*/ 0 w 2972005"/>
                  <a:gd name="connsiteY7" fmla="*/ 208135 h 657219"/>
                  <a:gd name="connsiteX8" fmla="*/ 138545 w 2972005"/>
                  <a:gd name="connsiteY8" fmla="*/ 125008 h 657219"/>
                  <a:gd name="connsiteX0" fmla="*/ 138545 w 2973912"/>
                  <a:gd name="connsiteY0" fmla="*/ 125008 h 657219"/>
                  <a:gd name="connsiteX1" fmla="*/ 2706255 w 2973912"/>
                  <a:gd name="connsiteY1" fmla="*/ 317 h 657219"/>
                  <a:gd name="connsiteX2" fmla="*/ 2890982 w 2973912"/>
                  <a:gd name="connsiteY2" fmla="*/ 78826 h 657219"/>
                  <a:gd name="connsiteX3" fmla="*/ 2969491 w 2973912"/>
                  <a:gd name="connsiteY3" fmla="*/ 258935 h 657219"/>
                  <a:gd name="connsiteX4" fmla="*/ 2872509 w 2973912"/>
                  <a:gd name="connsiteY4" fmla="*/ 379008 h 657219"/>
                  <a:gd name="connsiteX5" fmla="*/ 170873 w 2973912"/>
                  <a:gd name="connsiteY5" fmla="*/ 651481 h 657219"/>
                  <a:gd name="connsiteX6" fmla="*/ 9236 w 2973912"/>
                  <a:gd name="connsiteY6" fmla="*/ 531408 h 657219"/>
                  <a:gd name="connsiteX7" fmla="*/ 0 w 2973912"/>
                  <a:gd name="connsiteY7" fmla="*/ 208135 h 657219"/>
                  <a:gd name="connsiteX8" fmla="*/ 138545 w 2973912"/>
                  <a:gd name="connsiteY8" fmla="*/ 125008 h 65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3912" h="657219">
                    <a:moveTo>
                      <a:pt x="138545" y="125008"/>
                    </a:moveTo>
                    <a:lnTo>
                      <a:pt x="2706255" y="317"/>
                    </a:lnTo>
                    <a:cubicBezTo>
                      <a:pt x="2828121" y="-3658"/>
                      <a:pt x="2867087" y="30047"/>
                      <a:pt x="2890982" y="78826"/>
                    </a:cubicBezTo>
                    <a:lnTo>
                      <a:pt x="2969491" y="258935"/>
                    </a:lnTo>
                    <a:cubicBezTo>
                      <a:pt x="2987406" y="336640"/>
                      <a:pt x="2950053" y="379178"/>
                      <a:pt x="2872509" y="379008"/>
                    </a:cubicBezTo>
                    <a:lnTo>
                      <a:pt x="170873" y="651481"/>
                    </a:lnTo>
                    <a:cubicBezTo>
                      <a:pt x="101922" y="666723"/>
                      <a:pt x="5337" y="659356"/>
                      <a:pt x="9236" y="531408"/>
                    </a:cubicBezTo>
                    <a:lnTo>
                      <a:pt x="0" y="208135"/>
                    </a:lnTo>
                    <a:cubicBezTo>
                      <a:pt x="26085" y="152793"/>
                      <a:pt x="37097" y="137645"/>
                      <a:pt x="138545" y="125008"/>
                    </a:cubicBezTo>
                    <a:close/>
                  </a:path>
                </a:pathLst>
              </a:custGeom>
              <a:solidFill>
                <a:srgbClr val="70B1B6"/>
              </a:solidFill>
              <a:ln w="136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orme libre : forme 99">
                <a:extLst>
                  <a:ext uri="{FF2B5EF4-FFF2-40B4-BE49-F238E27FC236}">
                    <a16:creationId xmlns:a16="http://schemas.microsoft.com/office/drawing/2014/main" id="{85393EF3-8DA2-4A7C-7050-30FD86EBDC2D}"/>
                  </a:ext>
                </a:extLst>
              </p:cNvPr>
              <p:cNvSpPr/>
              <p:nvPr/>
            </p:nvSpPr>
            <p:spPr>
              <a:xfrm rot="261352" flipH="1" flipV="1">
                <a:off x="2068770" y="4907335"/>
                <a:ext cx="2707399" cy="880615"/>
              </a:xfrm>
              <a:custGeom>
                <a:avLst/>
                <a:gdLst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6902"/>
                  <a:gd name="connsiteX1" fmla="*/ 2706255 w 2969491"/>
                  <a:gd name="connsiteY1" fmla="*/ 0 h 656902"/>
                  <a:gd name="connsiteX2" fmla="*/ 2890982 w 2969491"/>
                  <a:gd name="connsiteY2" fmla="*/ 78509 h 656902"/>
                  <a:gd name="connsiteX3" fmla="*/ 2969491 w 2969491"/>
                  <a:gd name="connsiteY3" fmla="*/ 258618 h 656902"/>
                  <a:gd name="connsiteX4" fmla="*/ 2872509 w 2969491"/>
                  <a:gd name="connsiteY4" fmla="*/ 378691 h 656902"/>
                  <a:gd name="connsiteX5" fmla="*/ 170873 w 2969491"/>
                  <a:gd name="connsiteY5" fmla="*/ 651164 h 656902"/>
                  <a:gd name="connsiteX6" fmla="*/ 9236 w 2969491"/>
                  <a:gd name="connsiteY6" fmla="*/ 531091 h 656902"/>
                  <a:gd name="connsiteX7" fmla="*/ 0 w 2969491"/>
                  <a:gd name="connsiteY7" fmla="*/ 207818 h 656902"/>
                  <a:gd name="connsiteX8" fmla="*/ 138545 w 2969491"/>
                  <a:gd name="connsiteY8" fmla="*/ 124691 h 656902"/>
                  <a:gd name="connsiteX0" fmla="*/ 138545 w 2969491"/>
                  <a:gd name="connsiteY0" fmla="*/ 124890 h 657101"/>
                  <a:gd name="connsiteX1" fmla="*/ 2706255 w 2969491"/>
                  <a:gd name="connsiteY1" fmla="*/ 199 h 657101"/>
                  <a:gd name="connsiteX2" fmla="*/ 2890982 w 2969491"/>
                  <a:gd name="connsiteY2" fmla="*/ 78708 h 657101"/>
                  <a:gd name="connsiteX3" fmla="*/ 2969491 w 2969491"/>
                  <a:gd name="connsiteY3" fmla="*/ 258817 h 657101"/>
                  <a:gd name="connsiteX4" fmla="*/ 2872509 w 2969491"/>
                  <a:gd name="connsiteY4" fmla="*/ 378890 h 657101"/>
                  <a:gd name="connsiteX5" fmla="*/ 170873 w 2969491"/>
                  <a:gd name="connsiteY5" fmla="*/ 651363 h 657101"/>
                  <a:gd name="connsiteX6" fmla="*/ 9236 w 2969491"/>
                  <a:gd name="connsiteY6" fmla="*/ 531290 h 657101"/>
                  <a:gd name="connsiteX7" fmla="*/ 0 w 2969491"/>
                  <a:gd name="connsiteY7" fmla="*/ 208017 h 657101"/>
                  <a:gd name="connsiteX8" fmla="*/ 138545 w 2969491"/>
                  <a:gd name="connsiteY8" fmla="*/ 124890 h 657101"/>
                  <a:gd name="connsiteX0" fmla="*/ 138545 w 2969491"/>
                  <a:gd name="connsiteY0" fmla="*/ 125008 h 657219"/>
                  <a:gd name="connsiteX1" fmla="*/ 2706255 w 2969491"/>
                  <a:gd name="connsiteY1" fmla="*/ 317 h 657219"/>
                  <a:gd name="connsiteX2" fmla="*/ 2890982 w 2969491"/>
                  <a:gd name="connsiteY2" fmla="*/ 78826 h 657219"/>
                  <a:gd name="connsiteX3" fmla="*/ 2969491 w 2969491"/>
                  <a:gd name="connsiteY3" fmla="*/ 258935 h 657219"/>
                  <a:gd name="connsiteX4" fmla="*/ 2872509 w 2969491"/>
                  <a:gd name="connsiteY4" fmla="*/ 379008 h 657219"/>
                  <a:gd name="connsiteX5" fmla="*/ 170873 w 2969491"/>
                  <a:gd name="connsiteY5" fmla="*/ 651481 h 657219"/>
                  <a:gd name="connsiteX6" fmla="*/ 9236 w 2969491"/>
                  <a:gd name="connsiteY6" fmla="*/ 531408 h 657219"/>
                  <a:gd name="connsiteX7" fmla="*/ 0 w 2969491"/>
                  <a:gd name="connsiteY7" fmla="*/ 208135 h 657219"/>
                  <a:gd name="connsiteX8" fmla="*/ 138545 w 2969491"/>
                  <a:gd name="connsiteY8" fmla="*/ 125008 h 657219"/>
                  <a:gd name="connsiteX0" fmla="*/ 138545 w 2972005"/>
                  <a:gd name="connsiteY0" fmla="*/ 125008 h 657219"/>
                  <a:gd name="connsiteX1" fmla="*/ 2706255 w 2972005"/>
                  <a:gd name="connsiteY1" fmla="*/ 317 h 657219"/>
                  <a:gd name="connsiteX2" fmla="*/ 2890982 w 2972005"/>
                  <a:gd name="connsiteY2" fmla="*/ 78826 h 657219"/>
                  <a:gd name="connsiteX3" fmla="*/ 2969491 w 2972005"/>
                  <a:gd name="connsiteY3" fmla="*/ 258935 h 657219"/>
                  <a:gd name="connsiteX4" fmla="*/ 2872509 w 2972005"/>
                  <a:gd name="connsiteY4" fmla="*/ 379008 h 657219"/>
                  <a:gd name="connsiteX5" fmla="*/ 170873 w 2972005"/>
                  <a:gd name="connsiteY5" fmla="*/ 651481 h 657219"/>
                  <a:gd name="connsiteX6" fmla="*/ 9236 w 2972005"/>
                  <a:gd name="connsiteY6" fmla="*/ 531408 h 657219"/>
                  <a:gd name="connsiteX7" fmla="*/ 0 w 2972005"/>
                  <a:gd name="connsiteY7" fmla="*/ 208135 h 657219"/>
                  <a:gd name="connsiteX8" fmla="*/ 138545 w 2972005"/>
                  <a:gd name="connsiteY8" fmla="*/ 125008 h 657219"/>
                  <a:gd name="connsiteX0" fmla="*/ 138545 w 2973912"/>
                  <a:gd name="connsiteY0" fmla="*/ 125008 h 657219"/>
                  <a:gd name="connsiteX1" fmla="*/ 2706255 w 2973912"/>
                  <a:gd name="connsiteY1" fmla="*/ 317 h 657219"/>
                  <a:gd name="connsiteX2" fmla="*/ 2890982 w 2973912"/>
                  <a:gd name="connsiteY2" fmla="*/ 78826 h 657219"/>
                  <a:gd name="connsiteX3" fmla="*/ 2969491 w 2973912"/>
                  <a:gd name="connsiteY3" fmla="*/ 258935 h 657219"/>
                  <a:gd name="connsiteX4" fmla="*/ 2872509 w 2973912"/>
                  <a:gd name="connsiteY4" fmla="*/ 379008 h 657219"/>
                  <a:gd name="connsiteX5" fmla="*/ 170873 w 2973912"/>
                  <a:gd name="connsiteY5" fmla="*/ 651481 h 657219"/>
                  <a:gd name="connsiteX6" fmla="*/ 9236 w 2973912"/>
                  <a:gd name="connsiteY6" fmla="*/ 531408 h 657219"/>
                  <a:gd name="connsiteX7" fmla="*/ 0 w 2973912"/>
                  <a:gd name="connsiteY7" fmla="*/ 208135 h 657219"/>
                  <a:gd name="connsiteX8" fmla="*/ 138545 w 2973912"/>
                  <a:gd name="connsiteY8" fmla="*/ 125008 h 65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3912" h="657219">
                    <a:moveTo>
                      <a:pt x="138545" y="125008"/>
                    </a:moveTo>
                    <a:lnTo>
                      <a:pt x="2706255" y="317"/>
                    </a:lnTo>
                    <a:cubicBezTo>
                      <a:pt x="2828121" y="-3658"/>
                      <a:pt x="2867087" y="30047"/>
                      <a:pt x="2890982" y="78826"/>
                    </a:cubicBezTo>
                    <a:lnTo>
                      <a:pt x="2969491" y="258935"/>
                    </a:lnTo>
                    <a:cubicBezTo>
                      <a:pt x="2987406" y="336640"/>
                      <a:pt x="2950053" y="379178"/>
                      <a:pt x="2872509" y="379008"/>
                    </a:cubicBezTo>
                    <a:lnTo>
                      <a:pt x="170873" y="651481"/>
                    </a:lnTo>
                    <a:cubicBezTo>
                      <a:pt x="101922" y="666723"/>
                      <a:pt x="5337" y="659356"/>
                      <a:pt x="9236" y="531408"/>
                    </a:cubicBezTo>
                    <a:lnTo>
                      <a:pt x="0" y="208135"/>
                    </a:lnTo>
                    <a:cubicBezTo>
                      <a:pt x="26085" y="152793"/>
                      <a:pt x="37097" y="137645"/>
                      <a:pt x="138545" y="125008"/>
                    </a:cubicBezTo>
                    <a:close/>
                  </a:path>
                </a:pathLst>
              </a:custGeom>
              <a:solidFill>
                <a:srgbClr val="1E3F48"/>
              </a:solidFill>
              <a:ln w="136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ZoneTexte 103">
              <a:extLst>
                <a:ext uri="{FF2B5EF4-FFF2-40B4-BE49-F238E27FC236}">
                  <a16:creationId xmlns:a16="http://schemas.microsoft.com/office/drawing/2014/main" id="{E4D2F4AA-DF14-E435-1FF4-542E620AE8D5}"/>
                </a:ext>
              </a:extLst>
            </p:cNvPr>
            <p:cNvSpPr txBox="1"/>
            <p:nvPr/>
          </p:nvSpPr>
          <p:spPr>
            <a:xfrm>
              <a:off x="3471556" y="5045618"/>
              <a:ext cx="2510377" cy="5027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66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ال</a:t>
              </a:r>
              <a:r>
                <a:rPr lang="ar-MA" sz="2667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أسبـــــــــــــــــــــــــــــــــــــــــوع</a:t>
              </a:r>
              <a:r>
                <a:rPr lang="fr-FR" sz="2667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 1 </a:t>
              </a:r>
              <a:endParaRPr lang="ar-MA" sz="2667" b="1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ZoneTexte 104">
              <a:extLst>
                <a:ext uri="{FF2B5EF4-FFF2-40B4-BE49-F238E27FC236}">
                  <a16:creationId xmlns:a16="http://schemas.microsoft.com/office/drawing/2014/main" id="{6FE6F97B-78B7-7B1F-69E4-F6423D19134C}"/>
                </a:ext>
              </a:extLst>
            </p:cNvPr>
            <p:cNvSpPr txBox="1"/>
            <p:nvPr/>
          </p:nvSpPr>
          <p:spPr>
            <a:xfrm>
              <a:off x="3182492" y="5657818"/>
              <a:ext cx="2335288" cy="5027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667" b="1" kern="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</a:t>
              </a:r>
              <a:r>
                <a:rPr lang="fr-FR" sz="2667" b="1" kern="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ar-MA" sz="2667" b="1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6" name="Groupe 96">
            <a:extLst>
              <a:ext uri="{FF2B5EF4-FFF2-40B4-BE49-F238E27FC236}">
                <a16:creationId xmlns:a16="http://schemas.microsoft.com/office/drawing/2014/main" id="{B34503D7-9EAA-E090-2007-E159C54F2D7A}"/>
              </a:ext>
            </a:extLst>
          </p:cNvPr>
          <p:cNvGrpSpPr/>
          <p:nvPr/>
        </p:nvGrpSpPr>
        <p:grpSpPr>
          <a:xfrm>
            <a:off x="5897424" y="4927400"/>
            <a:ext cx="1714957" cy="1384487"/>
            <a:chOff x="7033580" y="1988319"/>
            <a:chExt cx="1714957" cy="1384487"/>
          </a:xfrm>
        </p:grpSpPr>
        <p:grpSp>
          <p:nvGrpSpPr>
            <p:cNvPr id="27" name="Groupe 74">
              <a:extLst>
                <a:ext uri="{FF2B5EF4-FFF2-40B4-BE49-F238E27FC236}">
                  <a16:creationId xmlns:a16="http://schemas.microsoft.com/office/drawing/2014/main" id="{B23621BC-83EC-B215-63F7-F75524A64CBE}"/>
                </a:ext>
              </a:extLst>
            </p:cNvPr>
            <p:cNvGrpSpPr/>
            <p:nvPr/>
          </p:nvGrpSpPr>
          <p:grpSpPr>
            <a:xfrm flipH="1">
              <a:off x="7178742" y="1988319"/>
              <a:ext cx="1393709" cy="1384487"/>
              <a:chOff x="104413" y="536954"/>
              <a:chExt cx="2109650" cy="2095690"/>
            </a:xfrm>
          </p:grpSpPr>
          <p:sp>
            <p:nvSpPr>
              <p:cNvPr id="30" name="ZoneTexte 73">
                <a:extLst>
                  <a:ext uri="{FF2B5EF4-FFF2-40B4-BE49-F238E27FC236}">
                    <a16:creationId xmlns:a16="http://schemas.microsoft.com/office/drawing/2014/main" id="{DFB8B9D9-6916-9BD0-A868-9C41D9E21A4B}"/>
                  </a:ext>
                </a:extLst>
              </p:cNvPr>
              <p:cNvSpPr txBox="1"/>
              <p:nvPr/>
            </p:nvSpPr>
            <p:spPr>
              <a:xfrm rot="19636752">
                <a:off x="104413" y="536954"/>
                <a:ext cx="2052844" cy="1444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M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 Massir Ballpoint" panose="00000100000000000000" pitchFamily="2" charset="-78"/>
                    <a:ea typeface="+mn-ea"/>
                    <a:cs typeface="Boahmed Alhour" pitchFamily="2" charset="-78"/>
                  </a:rPr>
                  <a:t>المقاعد</a:t>
                </a:r>
              </a:p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M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 Massir Ballpoint" panose="00000100000000000000" pitchFamily="2" charset="-78"/>
                    <a:ea typeface="+mn-ea"/>
                    <a:cs typeface="Boahmed Alhour" pitchFamily="2" charset="-78"/>
                  </a:rPr>
                  <a:t>محدودة</a:t>
                </a:r>
                <a:endParaRPr kumimoji="0" lang="ar-MA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 Massir Ballpoint" panose="00000100000000000000" pitchFamily="2" charset="-78"/>
                  <a:ea typeface="+mn-ea"/>
                  <a:cs typeface="Boahmed Alhour" pitchFamily="2" charset="-78"/>
                </a:endParaRPr>
              </a:p>
            </p:txBody>
          </p:sp>
          <p:grpSp>
            <p:nvGrpSpPr>
              <p:cNvPr id="31" name="Graphique 72">
                <a:extLst>
                  <a:ext uri="{FF2B5EF4-FFF2-40B4-BE49-F238E27FC236}">
                    <a16:creationId xmlns:a16="http://schemas.microsoft.com/office/drawing/2014/main" id="{0FDA1EDC-CA13-9FC1-4EFE-0FAC7309E033}"/>
                  </a:ext>
                </a:extLst>
              </p:cNvPr>
              <p:cNvGrpSpPr/>
              <p:nvPr/>
            </p:nvGrpSpPr>
            <p:grpSpPr>
              <a:xfrm>
                <a:off x="155746" y="579049"/>
                <a:ext cx="2058317" cy="2053595"/>
                <a:chOff x="155746" y="579049"/>
                <a:chExt cx="2058317" cy="2053595"/>
              </a:xfrm>
            </p:grpSpPr>
            <p:sp>
              <p:nvSpPr>
                <p:cNvPr id="32" name="Forme libre : forme 76">
                  <a:extLst>
                    <a:ext uri="{FF2B5EF4-FFF2-40B4-BE49-F238E27FC236}">
                      <a16:creationId xmlns:a16="http://schemas.microsoft.com/office/drawing/2014/main" id="{53701E93-B315-0369-B407-AF8BDF4887A7}"/>
                    </a:ext>
                  </a:extLst>
                </p:cNvPr>
                <p:cNvSpPr/>
                <p:nvPr/>
              </p:nvSpPr>
              <p:spPr>
                <a:xfrm>
                  <a:off x="155746" y="579049"/>
                  <a:ext cx="2058317" cy="2053595"/>
                </a:xfrm>
                <a:custGeom>
                  <a:avLst/>
                  <a:gdLst>
                    <a:gd name="connsiteX0" fmla="*/ 1980901 w 2058317"/>
                    <a:gd name="connsiteY0" fmla="*/ 1385151 h 2053595"/>
                    <a:gd name="connsiteX1" fmla="*/ 2008670 w 2058317"/>
                    <a:gd name="connsiteY1" fmla="*/ 1343789 h 2053595"/>
                    <a:gd name="connsiteX2" fmla="*/ 2009059 w 2058317"/>
                    <a:gd name="connsiteY2" fmla="*/ 1343401 h 2053595"/>
                    <a:gd name="connsiteX3" fmla="*/ 2057217 w 2058317"/>
                    <a:gd name="connsiteY3" fmla="*/ 980854 h 2053595"/>
                    <a:gd name="connsiteX4" fmla="*/ 1070165 w 2058317"/>
                    <a:gd name="connsiteY4" fmla="*/ 792 h 2053595"/>
                    <a:gd name="connsiteX5" fmla="*/ 0 w 2058317"/>
                    <a:gd name="connsiteY5" fmla="*/ 1029206 h 2053595"/>
                    <a:gd name="connsiteX6" fmla="*/ 925301 w 2058317"/>
                    <a:gd name="connsiteY6" fmla="*/ 2052960 h 2053595"/>
                    <a:gd name="connsiteX7" fmla="*/ 1003170 w 2058317"/>
                    <a:gd name="connsiteY7" fmla="*/ 2035289 h 2053595"/>
                    <a:gd name="connsiteX8" fmla="*/ 1980707 w 2058317"/>
                    <a:gd name="connsiteY8" fmla="*/ 1385928 h 2053595"/>
                    <a:gd name="connsiteX9" fmla="*/ 1980901 w 2058317"/>
                    <a:gd name="connsiteY9" fmla="*/ 1385151 h 2053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58317" h="2053595">
                      <a:moveTo>
                        <a:pt x="1980901" y="1385151"/>
                      </a:moveTo>
                      <a:cubicBezTo>
                        <a:pt x="1991388" y="1372140"/>
                        <a:pt x="1997019" y="1356023"/>
                        <a:pt x="2008670" y="1343789"/>
                      </a:cubicBezTo>
                      <a:cubicBezTo>
                        <a:pt x="2008864" y="1343595"/>
                        <a:pt x="2009059" y="1343595"/>
                        <a:pt x="2009059" y="1343401"/>
                      </a:cubicBezTo>
                      <a:cubicBezTo>
                        <a:pt x="2045566" y="1229801"/>
                        <a:pt x="2063043" y="1107852"/>
                        <a:pt x="2057217" y="980854"/>
                      </a:cubicBezTo>
                      <a:cubicBezTo>
                        <a:pt x="2032944" y="450529"/>
                        <a:pt x="1600489" y="21376"/>
                        <a:pt x="1070165" y="792"/>
                      </a:cubicBezTo>
                      <a:cubicBezTo>
                        <a:pt x="483137" y="-21928"/>
                        <a:pt x="0" y="447228"/>
                        <a:pt x="0" y="1029206"/>
                      </a:cubicBezTo>
                      <a:cubicBezTo>
                        <a:pt x="0" y="1562444"/>
                        <a:pt x="405657" y="2000918"/>
                        <a:pt x="925301" y="2052960"/>
                      </a:cubicBezTo>
                      <a:cubicBezTo>
                        <a:pt x="952487" y="2055679"/>
                        <a:pt x="979868" y="2049659"/>
                        <a:pt x="1003170" y="2035289"/>
                      </a:cubicBezTo>
                      <a:cubicBezTo>
                        <a:pt x="1171142" y="1931593"/>
                        <a:pt x="1853709" y="1481273"/>
                        <a:pt x="1980707" y="1385928"/>
                      </a:cubicBezTo>
                      <a:cubicBezTo>
                        <a:pt x="1980707" y="1385733"/>
                        <a:pt x="1980707" y="1385345"/>
                        <a:pt x="1980901" y="1385151"/>
                      </a:cubicBezTo>
                      <a:close/>
                    </a:path>
                  </a:pathLst>
                </a:custGeom>
                <a:gradFill>
                  <a:gsLst>
                    <a:gs pos="50000">
                      <a:srgbClr val="38A4B4"/>
                    </a:gs>
                    <a:gs pos="0">
                      <a:srgbClr val="70B1B6"/>
                    </a:gs>
                    <a:gs pos="100000">
                      <a:srgbClr val="0097B2"/>
                    </a:gs>
                  </a:gsLst>
                  <a:lin ang="5400000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orme libre : forme 77">
                  <a:extLst>
                    <a:ext uri="{FF2B5EF4-FFF2-40B4-BE49-F238E27FC236}">
                      <a16:creationId xmlns:a16="http://schemas.microsoft.com/office/drawing/2014/main" id="{B4C8A4BB-CAD4-5271-51BC-9C2D514DA00C}"/>
                    </a:ext>
                  </a:extLst>
                </p:cNvPr>
                <p:cNvSpPr/>
                <p:nvPr/>
              </p:nvSpPr>
              <p:spPr>
                <a:xfrm>
                  <a:off x="930202" y="1608353"/>
                  <a:ext cx="1239495" cy="722809"/>
                </a:xfrm>
                <a:custGeom>
                  <a:avLst/>
                  <a:gdLst>
                    <a:gd name="connsiteX0" fmla="*/ 1239496 w 1239495"/>
                    <a:gd name="connsiteY0" fmla="*/ 0 h 722809"/>
                    <a:gd name="connsiteX1" fmla="*/ 1149587 w 1239495"/>
                    <a:gd name="connsiteY1" fmla="*/ 36313 h 722809"/>
                    <a:gd name="connsiteX2" fmla="*/ 1039871 w 1239495"/>
                    <a:gd name="connsiteY2" fmla="*/ 41168 h 722809"/>
                    <a:gd name="connsiteX3" fmla="*/ 822382 w 1239495"/>
                    <a:gd name="connsiteY3" fmla="*/ 88549 h 722809"/>
                    <a:gd name="connsiteX4" fmla="*/ 624894 w 1239495"/>
                    <a:gd name="connsiteY4" fmla="*/ 179235 h 722809"/>
                    <a:gd name="connsiteX5" fmla="*/ 452456 w 1239495"/>
                    <a:gd name="connsiteY5" fmla="*/ 307786 h 722809"/>
                    <a:gd name="connsiteX6" fmla="*/ 310505 w 1239495"/>
                    <a:gd name="connsiteY6" fmla="*/ 468961 h 722809"/>
                    <a:gd name="connsiteX7" fmla="*/ 218849 w 1239495"/>
                    <a:gd name="connsiteY7" fmla="*/ 625671 h 722809"/>
                    <a:gd name="connsiteX8" fmla="*/ 166612 w 1239495"/>
                    <a:gd name="connsiteY8" fmla="*/ 677130 h 722809"/>
                    <a:gd name="connsiteX9" fmla="*/ 0 w 1239495"/>
                    <a:gd name="connsiteY9" fmla="*/ 692471 h 722809"/>
                    <a:gd name="connsiteX10" fmla="*/ 179429 w 1239495"/>
                    <a:gd name="connsiteY10" fmla="*/ 721599 h 722809"/>
                    <a:gd name="connsiteX11" fmla="*/ 788982 w 1239495"/>
                    <a:gd name="connsiteY11" fmla="*/ 407598 h 722809"/>
                    <a:gd name="connsiteX12" fmla="*/ 1166093 w 1239495"/>
                    <a:gd name="connsiteY12" fmla="*/ 99424 h 722809"/>
                    <a:gd name="connsiteX13" fmla="*/ 1199687 w 1239495"/>
                    <a:gd name="connsiteY13" fmla="*/ 66218 h 722809"/>
                    <a:gd name="connsiteX14" fmla="*/ 1239496 w 1239495"/>
                    <a:gd name="connsiteY14" fmla="*/ 0 h 722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39495" h="722809">
                      <a:moveTo>
                        <a:pt x="1239496" y="0"/>
                      </a:moveTo>
                      <a:cubicBezTo>
                        <a:pt x="1220077" y="32818"/>
                        <a:pt x="1182016" y="36895"/>
                        <a:pt x="1149587" y="36313"/>
                      </a:cubicBezTo>
                      <a:cubicBezTo>
                        <a:pt x="1112886" y="35730"/>
                        <a:pt x="1076379" y="37284"/>
                        <a:pt x="1039871" y="41168"/>
                      </a:cubicBezTo>
                      <a:cubicBezTo>
                        <a:pt x="965886" y="48935"/>
                        <a:pt x="892872" y="64858"/>
                        <a:pt x="822382" y="88549"/>
                      </a:cubicBezTo>
                      <a:cubicBezTo>
                        <a:pt x="753640" y="111658"/>
                        <a:pt x="687228" y="142145"/>
                        <a:pt x="624894" y="179235"/>
                      </a:cubicBezTo>
                      <a:cubicBezTo>
                        <a:pt x="563142" y="215936"/>
                        <a:pt x="505274" y="259045"/>
                        <a:pt x="452456" y="307786"/>
                      </a:cubicBezTo>
                      <a:cubicBezTo>
                        <a:pt x="399831" y="356333"/>
                        <a:pt x="352061" y="410511"/>
                        <a:pt x="310505" y="468961"/>
                      </a:cubicBezTo>
                      <a:cubicBezTo>
                        <a:pt x="275357" y="518285"/>
                        <a:pt x="244676" y="570910"/>
                        <a:pt x="218849" y="625671"/>
                      </a:cubicBezTo>
                      <a:cubicBezTo>
                        <a:pt x="210693" y="642759"/>
                        <a:pt x="186031" y="665867"/>
                        <a:pt x="166612" y="677130"/>
                      </a:cubicBezTo>
                      <a:cubicBezTo>
                        <a:pt x="84471" y="724900"/>
                        <a:pt x="41168" y="698879"/>
                        <a:pt x="0" y="692471"/>
                      </a:cubicBezTo>
                      <a:cubicBezTo>
                        <a:pt x="108745" y="731891"/>
                        <a:pt x="179429" y="721599"/>
                        <a:pt x="179429" y="721599"/>
                      </a:cubicBezTo>
                      <a:cubicBezTo>
                        <a:pt x="285649" y="714996"/>
                        <a:pt x="563531" y="561200"/>
                        <a:pt x="788982" y="407598"/>
                      </a:cubicBezTo>
                      <a:cubicBezTo>
                        <a:pt x="940642" y="304291"/>
                        <a:pt x="1065310" y="197488"/>
                        <a:pt x="1166093" y="99424"/>
                      </a:cubicBezTo>
                      <a:cubicBezTo>
                        <a:pt x="1179686" y="87384"/>
                        <a:pt x="1190560" y="76315"/>
                        <a:pt x="1199687" y="66218"/>
                      </a:cubicBezTo>
                      <a:cubicBezTo>
                        <a:pt x="1225708" y="37672"/>
                        <a:pt x="1239496" y="0"/>
                        <a:pt x="1239496" y="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5664"/>
                    </a:gs>
                    <a:gs pos="99350">
                      <a:srgbClr val="0097B2"/>
                    </a:gs>
                  </a:gsLst>
                  <a:lin ang="14501957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8" name="ZoneTexte 78">
              <a:extLst>
                <a:ext uri="{FF2B5EF4-FFF2-40B4-BE49-F238E27FC236}">
                  <a16:creationId xmlns:a16="http://schemas.microsoft.com/office/drawing/2014/main" id="{F6284AED-8A13-0BC5-E816-91B40E5E4FDD}"/>
                </a:ext>
              </a:extLst>
            </p:cNvPr>
            <p:cNvSpPr txBox="1"/>
            <p:nvPr/>
          </p:nvSpPr>
          <p:spPr>
            <a:xfrm>
              <a:off x="7033580" y="2429621"/>
              <a:ext cx="1632647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400" b="1" kern="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المرحلة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b="1" i="0" u="none" strike="noStrike" kern="1200" cap="none" spc="0" normalizeH="0" baseline="0" noProof="0" dirty="0">
                  <a:ln>
                    <a:noFill/>
                  </a:ln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ir Strip Arabic" panose="02000500000000000000" pitchFamily="2" charset="-78"/>
                  <a:ea typeface="+mn-ea"/>
                  <a:cs typeface="Air Strip Arabic" panose="02000500000000000000" pitchFamily="2" charset="-78"/>
                </a:rPr>
                <a:t> </a:t>
              </a:r>
              <a:endParaRPr kumimoji="0" lang="ar-MA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29" name="ZoneTexte 1">
              <a:extLst>
                <a:ext uri="{FF2B5EF4-FFF2-40B4-BE49-F238E27FC236}">
                  <a16:creationId xmlns:a16="http://schemas.microsoft.com/office/drawing/2014/main" id="{9A3E7FA8-0C49-85C3-634E-37D287753712}"/>
                </a:ext>
              </a:extLst>
            </p:cNvPr>
            <p:cNvSpPr txBox="1"/>
            <p:nvPr/>
          </p:nvSpPr>
          <p:spPr>
            <a:xfrm>
              <a:off x="7115890" y="2772724"/>
              <a:ext cx="163264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2400" b="1" kern="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ar-MA" sz="2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" name="TextBox 7">
            <a:extLst>
              <a:ext uri="{FF2B5EF4-FFF2-40B4-BE49-F238E27FC236}">
                <a16:creationId xmlns:a16="http://schemas.microsoft.com/office/drawing/2014/main" id="{5EAD3B37-903E-7955-D276-2174EAC4C559}"/>
              </a:ext>
            </a:extLst>
          </p:cNvPr>
          <p:cNvSpPr txBox="1"/>
          <p:nvPr/>
        </p:nvSpPr>
        <p:spPr>
          <a:xfrm>
            <a:off x="539552" y="2928810"/>
            <a:ext cx="8163749" cy="8239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algn="ctr" defTabSz="609630" rtl="1">
              <a:lnSpc>
                <a:spcPts val="3426"/>
              </a:lnSpc>
              <a:defRPr/>
            </a:pPr>
            <a:r>
              <a:rPr kumimoji="0" lang="ar-MA" sz="2800" b="1" i="0" u="none" strike="noStrike" kern="0" normalizeH="0" baseline="0" noProof="0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مستوى 5</a:t>
            </a:r>
            <a:r>
              <a:rPr lang="ar-MA" sz="2800" b="1" kern="0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fr-FR" sz="2800" b="1" kern="0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sz="2800" b="1" kern="0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حل المسائل: البحث عن الكل أو</a:t>
            </a:r>
            <a:r>
              <a:rPr lang="fr-FR" sz="2800" b="1" kern="0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sz="2800" b="1" kern="0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الجزء</a:t>
            </a:r>
          </a:p>
          <a:p>
            <a:pPr algn="ctr" defTabSz="609630" rtl="1">
              <a:lnSpc>
                <a:spcPts val="3426"/>
              </a:lnSpc>
              <a:defRPr/>
            </a:pPr>
            <a:r>
              <a:rPr lang="fr-FR" sz="1400" b="1" kern="0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Niveau 5</a:t>
            </a:r>
            <a:r>
              <a:rPr lang="fr-FR" sz="1400" b="1" kern="0" baseline="30000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fr-FR" sz="1400" b="1" kern="0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: Résolution des problèmes: recherche du tout et de la partie</a:t>
            </a:r>
            <a:endParaRPr lang="ar-MA" sz="1400" b="1" kern="0" dirty="0">
              <a:ln w="0"/>
              <a:solidFill>
                <a:schemeClr val="accent3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0C574FB7-2626-47AF-814E-EB66CC66D409}"/>
              </a:ext>
            </a:extLst>
          </p:cNvPr>
          <p:cNvSpPr txBox="1"/>
          <p:nvPr/>
        </p:nvSpPr>
        <p:spPr>
          <a:xfrm>
            <a:off x="539552" y="3813244"/>
            <a:ext cx="8163749" cy="8239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algn="ctr" defTabSz="609630" rtl="1">
              <a:lnSpc>
                <a:spcPts val="3426"/>
              </a:lnSpc>
              <a:defRPr/>
            </a:pPr>
            <a:r>
              <a:rPr kumimoji="0" lang="ar-MA" sz="2800" b="1" i="0" u="none" strike="noStrike" kern="0" normalizeH="0" baseline="0" noProof="0" dirty="0">
                <a:ln w="0"/>
                <a:solidFill>
                  <a:schemeClr val="accent4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مستوى 6: </a:t>
            </a:r>
            <a:r>
              <a:rPr lang="ar-MA" sz="2800" b="1" kern="0" dirty="0">
                <a:ln w="0"/>
                <a:solidFill>
                  <a:schemeClr val="accent4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حل المسائل: البحث عن الكل أو الجزء</a:t>
            </a:r>
          </a:p>
          <a:p>
            <a:pPr algn="ctr" defTabSz="609630">
              <a:lnSpc>
                <a:spcPts val="3426"/>
              </a:lnSpc>
              <a:defRPr/>
            </a:pPr>
            <a:r>
              <a:rPr lang="fr-FR" sz="1400" b="1" kern="0" dirty="0">
                <a:ln w="0"/>
                <a:solidFill>
                  <a:schemeClr val="accent4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Niveau 6</a:t>
            </a:r>
            <a:r>
              <a:rPr lang="fr-FR" sz="1400" kern="0" baseline="30000" dirty="0">
                <a:ln w="0"/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fr-FR" sz="1400" b="1" kern="0" dirty="0">
                <a:ln w="0"/>
                <a:solidFill>
                  <a:schemeClr val="accent4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: Résolution des problèmes:</a:t>
            </a:r>
            <a:r>
              <a:rPr lang="ar-MA" sz="1400" b="1" kern="0" dirty="0">
                <a:ln w="0"/>
                <a:solidFill>
                  <a:schemeClr val="accent4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400" b="1" kern="0" dirty="0">
                <a:ln w="0"/>
                <a:solidFill>
                  <a:schemeClr val="accent4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recherche du tout</a:t>
            </a:r>
            <a:r>
              <a:rPr lang="ar-MA" sz="1400" b="1" kern="0" dirty="0">
                <a:ln w="0"/>
                <a:solidFill>
                  <a:schemeClr val="accent4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400" b="1" kern="0" dirty="0">
                <a:ln w="0"/>
                <a:solidFill>
                  <a:schemeClr val="accent4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et de la partie</a:t>
            </a:r>
            <a:endParaRPr lang="ar-MA" sz="1400" b="1" kern="0" dirty="0">
              <a:ln w="0"/>
              <a:solidFill>
                <a:schemeClr val="accent4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C4669A-E679-4AFA-CF58-6BDA103CB6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72D5E5E-DD26-7963-274B-DD6D0E1C248B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AF9C226E-47CE-7938-74E4-57460477782D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9F468FE1-66C2-E2D2-4FDC-3FFBBDC4B1D3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2E69997C-0041-01EA-3A4F-2872A24ABDA0}"/>
                </a:ext>
              </a:extLst>
            </p:cNvPr>
            <p:cNvSpPr/>
            <p:nvPr/>
          </p:nvSpPr>
          <p:spPr>
            <a:xfrm>
              <a:off x="310444" y="293203"/>
              <a:ext cx="8496000" cy="525745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68E7B488-9E52-2A9A-643A-352F357C56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7E28767A-FB6B-24FB-0720-7352548C624C}"/>
              </a:ext>
            </a:extLst>
          </p:cNvPr>
          <p:cNvSpPr txBox="1"/>
          <p:nvPr/>
        </p:nvSpPr>
        <p:spPr>
          <a:xfrm>
            <a:off x="2808837" y="470244"/>
            <a:ext cx="5506607" cy="7107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</a:pP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بالنسبة للمستوى السادس، لديكم دقيقتان لتصحيح التمرين رقم </a:t>
            </a:r>
            <a:r>
              <a:rPr lang="fr-FR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، يقدم الأستاذ التصحيح باختصار. 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3A604F1-B333-CFDF-E1E5-364132663642}"/>
              </a:ext>
            </a:extLst>
          </p:cNvPr>
          <p:cNvSpPr txBox="1"/>
          <p:nvPr/>
        </p:nvSpPr>
        <p:spPr>
          <a:xfrm>
            <a:off x="298960" y="1307083"/>
            <a:ext cx="8518967" cy="2769989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ar-MA" sz="5400" b="1" dirty="0">
              <a:solidFill>
                <a:srgbClr val="FF0000"/>
              </a:solidFill>
            </a:endParaRPr>
          </a:p>
          <a:p>
            <a:pPr algn="ctr"/>
            <a:endParaRPr lang="ar-MA" sz="6600" b="1" dirty="0">
              <a:solidFill>
                <a:srgbClr val="FF0000"/>
              </a:solidFill>
            </a:endParaRPr>
          </a:p>
          <a:p>
            <a:pPr algn="ctr"/>
            <a:endParaRPr lang="ar-MA" sz="5400" b="1" dirty="0">
              <a:solidFill>
                <a:srgbClr val="FF0000"/>
              </a:solidFill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D389A3A-F435-DCA6-4A04-0330BD93BF39}"/>
              </a:ext>
            </a:extLst>
          </p:cNvPr>
          <p:cNvSpPr txBox="1"/>
          <p:nvPr/>
        </p:nvSpPr>
        <p:spPr>
          <a:xfrm>
            <a:off x="219863" y="4115395"/>
            <a:ext cx="8625178" cy="2769989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ar-MA" sz="5400" b="1" dirty="0">
              <a:solidFill>
                <a:srgbClr val="FF0000"/>
              </a:solidFill>
            </a:endParaRPr>
          </a:p>
          <a:p>
            <a:pPr algn="ctr"/>
            <a:endParaRPr lang="ar-MA" sz="6600" b="1" dirty="0">
              <a:solidFill>
                <a:srgbClr val="FF0000"/>
              </a:solidFill>
            </a:endParaRPr>
          </a:p>
          <a:p>
            <a:pPr algn="ctr"/>
            <a:endParaRPr lang="ar-MA" sz="5400" b="1" dirty="0">
              <a:solidFill>
                <a:srgbClr val="FF0000"/>
              </a:solidFill>
            </a:endParaRPr>
          </a:p>
        </p:txBody>
      </p:sp>
      <p:pic>
        <p:nvPicPr>
          <p:cNvPr id="23" name="Image 22" descr="Une image contenant Police, Graphique, logo, texte&#10;&#10;Le contenu généré par l’IA peut être incorrect.">
            <a:extLst>
              <a:ext uri="{FF2B5EF4-FFF2-40B4-BE49-F238E27FC236}">
                <a16:creationId xmlns:a16="http://schemas.microsoft.com/office/drawing/2014/main" id="{CE2B9131-A8F6-5372-09F3-73802C45AC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1" y="1288557"/>
            <a:ext cx="674441" cy="825643"/>
          </a:xfrm>
          <a:prstGeom prst="rect">
            <a:avLst/>
          </a:prstGeom>
        </p:spPr>
      </p:pic>
      <p:grpSp>
        <p:nvGrpSpPr>
          <p:cNvPr id="8" name="Groupe 13">
            <a:extLst>
              <a:ext uri="{FF2B5EF4-FFF2-40B4-BE49-F238E27FC236}">
                <a16:creationId xmlns:a16="http://schemas.microsoft.com/office/drawing/2014/main" id="{46D1AF86-BC02-A4A9-FD77-13A78E5ACDFE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9" name="Rectangle : coins arrondis 14">
              <a:extLst>
                <a:ext uri="{FF2B5EF4-FFF2-40B4-BE49-F238E27FC236}">
                  <a16:creationId xmlns:a16="http://schemas.microsoft.com/office/drawing/2014/main" id="{4850409C-FB48-8800-F1C8-A171A1EBD920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27" name="Rectangle : coins arrondis 15">
              <a:extLst>
                <a:ext uri="{FF2B5EF4-FFF2-40B4-BE49-F238E27FC236}">
                  <a16:creationId xmlns:a16="http://schemas.microsoft.com/office/drawing/2014/main" id="{AFB88CB2-879B-0743-891C-73F420B79514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8" name="Rectangle : coins arrondis 16">
              <a:extLst>
                <a:ext uri="{FF2B5EF4-FFF2-40B4-BE49-F238E27FC236}">
                  <a16:creationId xmlns:a16="http://schemas.microsoft.com/office/drawing/2014/main" id="{2BC46DD1-8E5E-D4F5-C68B-EDC9BFC44239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9" name="Rectangle : coins arrondis 17">
              <a:extLst>
                <a:ext uri="{FF2B5EF4-FFF2-40B4-BE49-F238E27FC236}">
                  <a16:creationId xmlns:a16="http://schemas.microsoft.com/office/drawing/2014/main" id="{3E6D4615-030F-3222-A3FE-823AC8D07B8B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30" name="Rectangle : coins arrondis 18">
              <a:extLst>
                <a:ext uri="{FF2B5EF4-FFF2-40B4-BE49-F238E27FC236}">
                  <a16:creationId xmlns:a16="http://schemas.microsoft.com/office/drawing/2014/main" id="{F7DB6852-2E99-B1C2-FA2B-996818A42FE3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grpSp>
        <p:nvGrpSpPr>
          <p:cNvPr id="31" name="Group 67">
            <a:extLst>
              <a:ext uri="{FF2B5EF4-FFF2-40B4-BE49-F238E27FC236}">
                <a16:creationId xmlns:a16="http://schemas.microsoft.com/office/drawing/2014/main" id="{4E73B412-E1A4-85E0-E3A5-C4C32C661376}"/>
              </a:ext>
            </a:extLst>
          </p:cNvPr>
          <p:cNvGrpSpPr/>
          <p:nvPr/>
        </p:nvGrpSpPr>
        <p:grpSpPr>
          <a:xfrm>
            <a:off x="757117" y="-48915"/>
            <a:ext cx="1294603" cy="1374831"/>
            <a:chOff x="1324315" y="2022922"/>
            <a:chExt cx="1529041" cy="1529040"/>
          </a:xfrm>
        </p:grpSpPr>
        <p:pic>
          <p:nvPicPr>
            <p:cNvPr id="32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0F94DB6F-E846-714D-F9E6-818D6E685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5" y="2022922"/>
              <a:ext cx="1529041" cy="1529040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4B9219D-70A1-6AEF-0A06-F8982FC51E00}"/>
                </a:ext>
              </a:extLst>
            </p:cNvPr>
            <p:cNvSpPr/>
            <p:nvPr/>
          </p:nvSpPr>
          <p:spPr>
            <a:xfrm>
              <a:off x="1610346" y="3071635"/>
              <a:ext cx="948573" cy="4447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دقيقتان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34" name="Image 2">
            <a:extLst>
              <a:ext uri="{FF2B5EF4-FFF2-40B4-BE49-F238E27FC236}">
                <a16:creationId xmlns:a16="http://schemas.microsoft.com/office/drawing/2014/main" id="{7E4341CB-3806-5685-946C-56E4C29EB71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6" b="836"/>
          <a:stretch/>
        </p:blipFill>
        <p:spPr>
          <a:xfrm>
            <a:off x="84834" y="345537"/>
            <a:ext cx="1188649" cy="90162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28592FC8-0C79-6903-F4E8-590E24DB5A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6245" y="1390790"/>
            <a:ext cx="7794187" cy="2603297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13342BFC-DA65-5175-05F8-6E8CF3EB6EAC}"/>
              </a:ext>
            </a:extLst>
          </p:cNvPr>
          <p:cNvSpPr/>
          <p:nvPr/>
        </p:nvSpPr>
        <p:spPr>
          <a:xfrm>
            <a:off x="4668042" y="5370897"/>
            <a:ext cx="1426999" cy="360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FF0000"/>
                </a:solidFill>
              </a:rPr>
              <a:t>85          37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6DD5CBE-C35A-0CD0-136A-BDC3131DBD55}"/>
              </a:ext>
            </a:extLst>
          </p:cNvPr>
          <p:cNvSpPr/>
          <p:nvPr/>
        </p:nvSpPr>
        <p:spPr>
          <a:xfrm>
            <a:off x="3995937" y="6070748"/>
            <a:ext cx="1566204" cy="360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FF0000"/>
                </a:solidFill>
              </a:rPr>
              <a:t>17             63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1A02252-C9BB-C9CA-7855-976F2962DE19}"/>
              </a:ext>
            </a:extLst>
          </p:cNvPr>
          <p:cNvSpPr/>
          <p:nvPr/>
        </p:nvSpPr>
        <p:spPr>
          <a:xfrm>
            <a:off x="7259987" y="4667214"/>
            <a:ext cx="624381" cy="360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FF0000"/>
                </a:solidFill>
              </a:rPr>
              <a:t>1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D961B0F-A4AF-10CD-D7C8-058B5FA3C4D2}"/>
              </a:ext>
            </a:extLst>
          </p:cNvPr>
          <p:cNvSpPr/>
          <p:nvPr/>
        </p:nvSpPr>
        <p:spPr>
          <a:xfrm>
            <a:off x="7259986" y="5356063"/>
            <a:ext cx="624381" cy="360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FF0000"/>
                </a:solidFill>
              </a:rPr>
              <a:t>48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958A5B-513E-DE8B-466E-E731E8203DA9}"/>
              </a:ext>
            </a:extLst>
          </p:cNvPr>
          <p:cNvSpPr/>
          <p:nvPr/>
        </p:nvSpPr>
        <p:spPr>
          <a:xfrm>
            <a:off x="6478841" y="6056441"/>
            <a:ext cx="624381" cy="360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FF0000"/>
                </a:solidFill>
              </a:rPr>
              <a:t>80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0EDA25B-4B09-AD6F-A821-338FAD4BA1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45" y="4191161"/>
            <a:ext cx="7794187" cy="2514253"/>
          </a:xfrm>
          <a:prstGeom prst="rect">
            <a:avLst/>
          </a:prstGeom>
        </p:spPr>
      </p:pic>
      <p:pic>
        <p:nvPicPr>
          <p:cNvPr id="11" name="Image 10" descr="Une image contenant Police, cercle, Graphique, logo&#10;&#10;Le contenu généré par l’IA peut être incorrect.">
            <a:extLst>
              <a:ext uri="{FF2B5EF4-FFF2-40B4-BE49-F238E27FC236}">
                <a16:creationId xmlns:a16="http://schemas.microsoft.com/office/drawing/2014/main" id="{8C7B986A-E765-0E39-CA39-E9DAF0E401C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6" y="4098693"/>
            <a:ext cx="674441" cy="825643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6B4E46A2-7792-9A3D-D79D-18A17ABAE7B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72200" y="2361978"/>
            <a:ext cx="114310" cy="16003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6A45639-4406-3717-06E1-F6285687E728}"/>
              </a:ext>
            </a:extLst>
          </p:cNvPr>
          <p:cNvSpPr/>
          <p:nvPr/>
        </p:nvSpPr>
        <p:spPr>
          <a:xfrm>
            <a:off x="6660232" y="2420888"/>
            <a:ext cx="144016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6510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F9A2B-22AB-2F09-1751-E560B2E551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85E8BF-B0A5-5AD1-DA01-75D50526A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DE928F-F603-D28E-B163-6C9C2E2F04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2983B4AC-A704-8F63-BB8E-59D700CEB56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ctr" defTabSz="609630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04EEEAFE-B8EE-E3FC-2610-72073F655508}"/>
              </a:ext>
            </a:extLst>
          </p:cNvPr>
          <p:cNvSpPr txBox="1"/>
          <p:nvPr/>
        </p:nvSpPr>
        <p:spPr>
          <a:xfrm>
            <a:off x="1259632" y="926405"/>
            <a:ext cx="6858000" cy="453463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4" rtl="1"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افتتاح الحصة</a:t>
            </a:r>
          </a:p>
          <a:p>
            <a:pPr algn="ctr" defTabSz="685834" rtl="1">
              <a:defRPr/>
            </a:pPr>
            <a:endParaRPr lang="en-GB" sz="2667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أصحح أنشطتي المنزلية</a:t>
            </a:r>
          </a:p>
          <a:p>
            <a:pPr algn="ctr" defTabSz="685834" rtl="1">
              <a:defRPr/>
            </a:pPr>
            <a:endParaRPr lang="ar-MA" sz="3200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أحسب ذهنيا</a:t>
            </a:r>
          </a:p>
          <a:p>
            <a:pPr algn="ctr" defTabSz="685834" rtl="1">
              <a:defRPr/>
            </a:pPr>
            <a:endParaRPr lang="ar-MA" sz="3200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التناوب اللغوي</a:t>
            </a:r>
          </a:p>
          <a:p>
            <a:pPr algn="ctr" defTabSz="685834" rtl="1">
              <a:defRPr/>
            </a:pPr>
            <a:endParaRPr lang="fr-FR" sz="3200" b="1" dirty="0">
              <a:solidFill>
                <a:prstClr val="white">
                  <a:lumMod val="75000"/>
                </a:prstClr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أنشط مستلزمات الدرس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DF1B0EF-EFC0-563C-C755-B350E47F3533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/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C3C7B3C0-FEE6-EA85-2C18-3AE1A3B142BB}"/>
              </a:ext>
            </a:extLst>
          </p:cNvPr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/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1" name="Image 12">
            <a:extLst>
              <a:ext uri="{FF2B5EF4-FFF2-40B4-BE49-F238E27FC236}">
                <a16:creationId xmlns:a16="http://schemas.microsoft.com/office/drawing/2014/main" id="{3AFDDEF5-13AD-5A69-0D4F-14840F71F744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5940152" y="2968873"/>
            <a:ext cx="812326" cy="449702"/>
          </a:xfrm>
          <a:prstGeom prst="rect">
            <a:avLst/>
          </a:prstGeom>
        </p:spPr>
      </p:pic>
      <p:grpSp>
        <p:nvGrpSpPr>
          <p:cNvPr id="2" name="Group 67">
            <a:extLst>
              <a:ext uri="{FF2B5EF4-FFF2-40B4-BE49-F238E27FC236}">
                <a16:creationId xmlns:a16="http://schemas.microsoft.com/office/drawing/2014/main" id="{BBB72D4E-FE42-529F-E782-E16D80EF6C62}"/>
              </a:ext>
            </a:extLst>
          </p:cNvPr>
          <p:cNvGrpSpPr/>
          <p:nvPr/>
        </p:nvGrpSpPr>
        <p:grpSpPr>
          <a:xfrm>
            <a:off x="2339752" y="2348880"/>
            <a:ext cx="1635152" cy="1477553"/>
            <a:chOff x="1324314" y="2022921"/>
            <a:chExt cx="1656987" cy="1643283"/>
          </a:xfrm>
        </p:grpSpPr>
        <p:pic>
          <p:nvPicPr>
            <p:cNvPr id="4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E2738FEF-19A8-6A9D-0E75-F11130D6BC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4" y="2022921"/>
              <a:ext cx="1643283" cy="1643283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4C84A92-4F81-CACD-289B-BF7F7B9FBF1E}"/>
                </a:ext>
              </a:extLst>
            </p:cNvPr>
            <p:cNvSpPr/>
            <p:nvPr/>
          </p:nvSpPr>
          <p:spPr>
            <a:xfrm>
              <a:off x="1398054" y="3203735"/>
              <a:ext cx="1583247" cy="4447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37139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8"/>
          <p:cNvSpPr txBox="1"/>
          <p:nvPr/>
        </p:nvSpPr>
        <p:spPr>
          <a:xfrm>
            <a:off x="3188527" y="5759619"/>
            <a:ext cx="2523604" cy="1399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1177"/>
              </a:lnSpc>
              <a:spcBef>
                <a:spcPct val="0"/>
              </a:spcBef>
            </a:pPr>
            <a:r>
              <a:rPr lang="en-US" sz="841">
                <a:solidFill>
                  <a:srgbClr val="FCFEFD"/>
                </a:solidFill>
                <a:latin typeface="Arimo Italics"/>
              </a:rPr>
              <a:t>Version provisoire pour la formation des enseignants </a:t>
            </a:r>
          </a:p>
        </p:txBody>
      </p:sp>
      <p:sp>
        <p:nvSpPr>
          <p:cNvPr id="4" name="Rectangle à coins arrondis 4">
            <a:extLst>
              <a:ext uri="{FF2B5EF4-FFF2-40B4-BE49-F238E27FC236}">
                <a16:creationId xmlns:a16="http://schemas.microsoft.com/office/drawing/2014/main" id="{CAE58A36-456C-FBDF-6134-728CC262D962}"/>
              </a:ext>
            </a:extLst>
          </p:cNvPr>
          <p:cNvSpPr>
            <a:spLocks/>
          </p:cNvSpPr>
          <p:nvPr/>
        </p:nvSpPr>
        <p:spPr>
          <a:xfrm>
            <a:off x="355600" y="222045"/>
            <a:ext cx="8738400" cy="372000"/>
          </a:xfrm>
          <a:prstGeom prst="round2SameRect">
            <a:avLst>
              <a:gd name="adj1" fmla="val 40573"/>
              <a:gd name="adj2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609630" lvl="2" algn="r" defTabSz="609630" rtl="1"/>
            <a:r>
              <a:rPr lang="ar-MA" sz="1867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ذوا الدفاتر لديكم دقيقة لنقل العمليات ودقيقة لحسابها </a:t>
            </a:r>
            <a:r>
              <a:rPr lang="ar-MA" b="1" dirty="0">
                <a:ln w="0"/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ذهنيا</a:t>
            </a:r>
            <a:endParaRPr lang="ar-MA" sz="1867" b="1" dirty="0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79869C61-DDA9-225D-4458-7F95BAEF7FAF}"/>
              </a:ext>
            </a:extLst>
          </p:cNvPr>
          <p:cNvSpPr/>
          <p:nvPr/>
        </p:nvSpPr>
        <p:spPr>
          <a:xfrm rot="10800000">
            <a:off x="8483600" y="342460"/>
            <a:ext cx="277013" cy="19094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026" name="Picture 2" descr="1 Minute Chrono - Bleu Stock ...">
            <a:extLst>
              <a:ext uri="{FF2B5EF4-FFF2-40B4-BE49-F238E27FC236}">
                <a16:creationId xmlns:a16="http://schemas.microsoft.com/office/drawing/2014/main" id="{52F75286-D667-C1D1-29F7-427271FA0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75" y="1443867"/>
            <a:ext cx="1094299" cy="1313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e 8">
            <a:extLst>
              <a:ext uri="{FF2B5EF4-FFF2-40B4-BE49-F238E27FC236}">
                <a16:creationId xmlns:a16="http://schemas.microsoft.com/office/drawing/2014/main" id="{95C93217-D720-7A44-3F60-E9E2BA38F5A7}"/>
              </a:ext>
            </a:extLst>
          </p:cNvPr>
          <p:cNvGrpSpPr/>
          <p:nvPr/>
        </p:nvGrpSpPr>
        <p:grpSpPr>
          <a:xfrm>
            <a:off x="1979712" y="764704"/>
            <a:ext cx="5184576" cy="5681065"/>
            <a:chOff x="2769514" y="1117772"/>
            <a:chExt cx="4147480" cy="5327997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F6A34BFB-D302-93DE-86B9-DFB85DFEA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69514" y="1117772"/>
              <a:ext cx="4147480" cy="5327997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755ED4E-F9EE-732C-3D99-A2C16739848D}"/>
                </a:ext>
              </a:extLst>
            </p:cNvPr>
            <p:cNvSpPr/>
            <p:nvPr/>
          </p:nvSpPr>
          <p:spPr>
            <a:xfrm>
              <a:off x="2920181" y="3244645"/>
              <a:ext cx="3864077" cy="663678"/>
            </a:xfrm>
            <a:prstGeom prst="rect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rtlCol="0" anchor="ctr"/>
            <a:lstStyle/>
            <a:p>
              <a:pPr algn="ctr"/>
              <a:endParaRPr lang="fr-MA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445B30B1-670B-5113-DEB9-276E14D4E7F4}"/>
              </a:ext>
            </a:extLst>
          </p:cNvPr>
          <p:cNvSpPr/>
          <p:nvPr/>
        </p:nvSpPr>
        <p:spPr>
          <a:xfrm>
            <a:off x="2267744" y="3740176"/>
            <a:ext cx="4593661" cy="66367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Flèche : bas 4">
            <a:extLst>
              <a:ext uri="{FF2B5EF4-FFF2-40B4-BE49-F238E27FC236}">
                <a16:creationId xmlns:a16="http://schemas.microsoft.com/office/drawing/2014/main" id="{43AD41F0-66B5-EB6E-7363-751F89085024}"/>
              </a:ext>
            </a:extLst>
          </p:cNvPr>
          <p:cNvSpPr/>
          <p:nvPr/>
        </p:nvSpPr>
        <p:spPr>
          <a:xfrm rot="5400000">
            <a:off x="7150907" y="3467555"/>
            <a:ext cx="663677" cy="1152128"/>
          </a:xfrm>
          <a:prstGeom prst="down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11766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01B5F5-5BEB-6293-2837-13BBFFF2E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8">
            <a:extLst>
              <a:ext uri="{FF2B5EF4-FFF2-40B4-BE49-F238E27FC236}">
                <a16:creationId xmlns:a16="http://schemas.microsoft.com/office/drawing/2014/main" id="{28308892-C591-500D-2F5A-AAD7C7534A95}"/>
              </a:ext>
            </a:extLst>
          </p:cNvPr>
          <p:cNvSpPr txBox="1"/>
          <p:nvPr/>
        </p:nvSpPr>
        <p:spPr>
          <a:xfrm>
            <a:off x="3188527" y="5759619"/>
            <a:ext cx="2523604" cy="1399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1177"/>
              </a:lnSpc>
              <a:spcBef>
                <a:spcPct val="0"/>
              </a:spcBef>
            </a:pPr>
            <a:r>
              <a:rPr lang="en-US" sz="841">
                <a:solidFill>
                  <a:srgbClr val="FCFEFD"/>
                </a:solidFill>
                <a:latin typeface="Arimo Italics"/>
              </a:rPr>
              <a:t>Version provisoire pour la formation des enseignants </a:t>
            </a:r>
          </a:p>
        </p:txBody>
      </p:sp>
      <p:sp>
        <p:nvSpPr>
          <p:cNvPr id="4" name="Rectangle à coins arrondis 4">
            <a:extLst>
              <a:ext uri="{FF2B5EF4-FFF2-40B4-BE49-F238E27FC236}">
                <a16:creationId xmlns:a16="http://schemas.microsoft.com/office/drawing/2014/main" id="{206A9B30-F2B7-AA62-CD93-1F5FAC3F193D}"/>
              </a:ext>
            </a:extLst>
          </p:cNvPr>
          <p:cNvSpPr>
            <a:spLocks/>
          </p:cNvSpPr>
          <p:nvPr/>
        </p:nvSpPr>
        <p:spPr>
          <a:xfrm>
            <a:off x="355600" y="222045"/>
            <a:ext cx="8738400" cy="372000"/>
          </a:xfrm>
          <a:prstGeom prst="round2SameRect">
            <a:avLst>
              <a:gd name="adj1" fmla="val 40573"/>
              <a:gd name="adj2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609630" lvl="2" algn="r" defTabSz="609630" rtl="1"/>
            <a:r>
              <a:rPr lang="ar-MA" sz="1867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ت دقيقة واحدة نصحح.</a:t>
            </a:r>
          </a:p>
          <a:p>
            <a:pPr marL="609630" lvl="2" algn="r" defTabSz="609630" rtl="1"/>
            <a:r>
              <a:rPr lang="ar-MA" sz="1867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قوموا بعد الأجوبة الصحيحة واكتبوا النقطة على 10</a:t>
            </a:r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668B1F8C-B820-8295-DB0E-DB4BC6AD37FE}"/>
              </a:ext>
            </a:extLst>
          </p:cNvPr>
          <p:cNvSpPr/>
          <p:nvPr/>
        </p:nvSpPr>
        <p:spPr>
          <a:xfrm rot="10800000">
            <a:off x="8483600" y="342460"/>
            <a:ext cx="277013" cy="19094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026" name="Picture 2" descr="1 Minute Chrono - Bleu Stock ...">
            <a:extLst>
              <a:ext uri="{FF2B5EF4-FFF2-40B4-BE49-F238E27FC236}">
                <a16:creationId xmlns:a16="http://schemas.microsoft.com/office/drawing/2014/main" id="{5C586900-944F-804C-9648-1C62C7EA7B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75" y="1443867"/>
            <a:ext cx="1094299" cy="1313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6A79617-57B1-7503-8651-DA643DCD85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365" y="2974891"/>
            <a:ext cx="8174919" cy="1030173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CE82D3D6-E1A2-2A1D-A85F-4B4818DF1FC1}"/>
              </a:ext>
            </a:extLst>
          </p:cNvPr>
          <p:cNvSpPr txBox="1"/>
          <p:nvPr/>
        </p:nvSpPr>
        <p:spPr>
          <a:xfrm>
            <a:off x="1691680" y="3356992"/>
            <a:ext cx="65527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1"/>
            <a:r>
              <a:rPr lang="fr-FR" sz="1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70                          240                           490                        340                           290</a:t>
            </a:r>
            <a:endParaRPr lang="ar-MA" sz="1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81BB99B-5DD3-730A-C7B1-17735F031E50}"/>
              </a:ext>
            </a:extLst>
          </p:cNvPr>
          <p:cNvSpPr txBox="1"/>
          <p:nvPr/>
        </p:nvSpPr>
        <p:spPr>
          <a:xfrm>
            <a:off x="1691680" y="3645024"/>
            <a:ext cx="65527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1"/>
            <a:r>
              <a:rPr lang="fr-FR" sz="1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0                          310                         330                          230                           430</a:t>
            </a:r>
            <a:endParaRPr lang="ar-MA" sz="1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5992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1E87AE-B48D-4900-D191-38594CAFD0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A263C2-92A1-7802-9F41-C58FAA8499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A263C2-92A1-7802-9F41-C58FAA849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A427154A-0403-FEC5-81A3-022DE3AACA2B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ctr" defTabSz="609630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B5084D4-3172-445A-6922-50E31073598C}"/>
              </a:ext>
            </a:extLst>
          </p:cNvPr>
          <p:cNvSpPr txBox="1"/>
          <p:nvPr/>
        </p:nvSpPr>
        <p:spPr>
          <a:xfrm>
            <a:off x="1259632" y="926405"/>
            <a:ext cx="6858000" cy="453463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4" rtl="1"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افتتاح الحصة</a:t>
            </a:r>
          </a:p>
          <a:p>
            <a:pPr algn="ctr" defTabSz="685834" rtl="1">
              <a:defRPr/>
            </a:pPr>
            <a:endParaRPr lang="en-GB" sz="2667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أصحح أنشطتي المنزلية</a:t>
            </a:r>
          </a:p>
          <a:p>
            <a:pPr algn="ctr" defTabSz="685834" rtl="1">
              <a:defRPr/>
            </a:pPr>
            <a:endParaRPr lang="ar-MA" sz="3200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أحسب ذهنيا</a:t>
            </a:r>
          </a:p>
          <a:p>
            <a:pPr algn="ctr" defTabSz="685834" rtl="1">
              <a:defRPr/>
            </a:pPr>
            <a:endParaRPr lang="ar-MA" sz="3200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التناوب اللغوي</a:t>
            </a:r>
          </a:p>
          <a:p>
            <a:pPr algn="ctr" defTabSz="685834" rtl="1">
              <a:defRPr/>
            </a:pPr>
            <a:endParaRPr lang="fr-FR" sz="3200" b="1" dirty="0">
              <a:solidFill>
                <a:prstClr val="white">
                  <a:lumMod val="75000"/>
                </a:prstClr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أنشط مستلزمات الدرس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CC21A9AB-F0F4-E52A-06E3-499CDC58B601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/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F681D5E9-9175-B257-93F5-4FDFF68F0775}"/>
              </a:ext>
            </a:extLst>
          </p:cNvPr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/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1" name="Image 12">
            <a:extLst>
              <a:ext uri="{FF2B5EF4-FFF2-40B4-BE49-F238E27FC236}">
                <a16:creationId xmlns:a16="http://schemas.microsoft.com/office/drawing/2014/main" id="{BB9DDDBC-2560-5587-B3C7-601493023AB1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5940152" y="3933056"/>
            <a:ext cx="812326" cy="449702"/>
          </a:xfrm>
          <a:prstGeom prst="rect">
            <a:avLst/>
          </a:prstGeom>
        </p:spPr>
      </p:pic>
      <p:grpSp>
        <p:nvGrpSpPr>
          <p:cNvPr id="2" name="Group 67">
            <a:extLst>
              <a:ext uri="{FF2B5EF4-FFF2-40B4-BE49-F238E27FC236}">
                <a16:creationId xmlns:a16="http://schemas.microsoft.com/office/drawing/2014/main" id="{1D235012-3025-0815-9D11-FF64DE2647D5}"/>
              </a:ext>
            </a:extLst>
          </p:cNvPr>
          <p:cNvGrpSpPr/>
          <p:nvPr/>
        </p:nvGrpSpPr>
        <p:grpSpPr>
          <a:xfrm>
            <a:off x="2386274" y="3166422"/>
            <a:ext cx="1635152" cy="1477553"/>
            <a:chOff x="1324314" y="2022921"/>
            <a:chExt cx="1656987" cy="1643283"/>
          </a:xfrm>
        </p:grpSpPr>
        <p:pic>
          <p:nvPicPr>
            <p:cNvPr id="4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0D0AB968-D0FF-9CF6-7B10-4AE26BDE9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4" y="2022921"/>
              <a:ext cx="1643283" cy="1643283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CCF7531-1700-2DB1-ECEC-1364B8A14033}"/>
                </a:ext>
              </a:extLst>
            </p:cNvPr>
            <p:cNvSpPr/>
            <p:nvPr/>
          </p:nvSpPr>
          <p:spPr>
            <a:xfrm>
              <a:off x="1398054" y="3203735"/>
              <a:ext cx="1583247" cy="4447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1114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B46033-2B32-3010-26D5-D5A1F8406D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775ECB9-DF77-C8A3-F313-0668897D874B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75A26060-9DF2-B26B-26E0-675F569EC859}"/>
              </a:ext>
            </a:extLst>
          </p:cNvPr>
          <p:cNvGrpSpPr/>
          <p:nvPr/>
        </p:nvGrpSpPr>
        <p:grpSpPr>
          <a:xfrm>
            <a:off x="298228" y="363769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236FD467-5C12-FEAC-37A0-3A8E5294AAF3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D3000D8A-32EE-9AC0-34AE-E448FBF296EA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F73C2B0C-0F8E-0E11-5AF7-FC6A3BF297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B14B6188-8F8B-449B-C059-3ECBE24883FE}"/>
              </a:ext>
            </a:extLst>
          </p:cNvPr>
          <p:cNvSpPr txBox="1"/>
          <p:nvPr/>
        </p:nvSpPr>
        <p:spPr>
          <a:xfrm>
            <a:off x="509806" y="404664"/>
            <a:ext cx="7806610" cy="813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نتعرف على مقابل الكلمات والعبارات الآتية باللغة الفرنسية :</a:t>
            </a:r>
          </a:p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ثم دونوها على دفتر التناوب اللغوي. 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6B18FC21-3899-CB97-C1FE-66F37E160C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908063"/>
              </p:ext>
            </p:extLst>
          </p:nvPr>
        </p:nvGraphicFramePr>
        <p:xfrm>
          <a:off x="509806" y="1334519"/>
          <a:ext cx="8238657" cy="45427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8872">
                  <a:extLst>
                    <a:ext uri="{9D8B030D-6E8A-4147-A177-3AD203B41FA5}">
                      <a16:colId xmlns:a16="http://schemas.microsoft.com/office/drawing/2014/main" val="2391620399"/>
                    </a:ext>
                  </a:extLst>
                </a:gridCol>
                <a:gridCol w="576706">
                  <a:extLst>
                    <a:ext uri="{9D8B030D-6E8A-4147-A177-3AD203B41FA5}">
                      <a16:colId xmlns:a16="http://schemas.microsoft.com/office/drawing/2014/main" val="3540924375"/>
                    </a:ext>
                  </a:extLst>
                </a:gridCol>
                <a:gridCol w="3733079">
                  <a:extLst>
                    <a:ext uri="{9D8B030D-6E8A-4147-A177-3AD203B41FA5}">
                      <a16:colId xmlns:a16="http://schemas.microsoft.com/office/drawing/2014/main" val="3028912014"/>
                    </a:ext>
                  </a:extLst>
                </a:gridCol>
              </a:tblGrid>
              <a:tr h="5809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b="1" dirty="0">
                          <a:solidFill>
                            <a:srgbClr val="002060"/>
                          </a:solidFill>
                        </a:rPr>
                        <a:t>Mot ou expression en frança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2400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2000" b="1" dirty="0">
                          <a:solidFill>
                            <a:srgbClr val="002060"/>
                          </a:solidFill>
                        </a:rPr>
                        <a:t>الكلمة أو العبارة بالعربية</a:t>
                      </a:r>
                      <a:endParaRPr lang="fr-FR" sz="20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0316920"/>
                  </a:ext>
                </a:extLst>
              </a:tr>
              <a:tr h="503453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fr-FR" sz="2000" b="1" dirty="0">
                          <a:solidFill>
                            <a:srgbClr val="FF0000"/>
                          </a:solidFill>
                        </a:rPr>
                        <a:t>Problèm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20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ar-MA" sz="2000" b="1" dirty="0">
                          <a:solidFill>
                            <a:srgbClr val="106583"/>
                          </a:solidFill>
                        </a:rPr>
                        <a:t>مسألة </a:t>
                      </a:r>
                      <a:endParaRPr lang="fr-FR" sz="2000" b="1" dirty="0">
                        <a:solidFill>
                          <a:srgbClr val="106583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036254"/>
                  </a:ext>
                </a:extLst>
              </a:tr>
              <a:tr h="57639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fr-FR" sz="2000" b="1" dirty="0">
                          <a:solidFill>
                            <a:srgbClr val="FF0000"/>
                          </a:solidFill>
                        </a:rPr>
                        <a:t>Les donné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20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ar-MA" sz="2000" b="1" dirty="0">
                          <a:solidFill>
                            <a:srgbClr val="106583"/>
                          </a:solidFill>
                        </a:rPr>
                        <a:t>المعطيات</a:t>
                      </a:r>
                      <a:endParaRPr lang="fr-FR" sz="2000" b="1" dirty="0">
                        <a:solidFill>
                          <a:srgbClr val="106583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2392299"/>
                  </a:ext>
                </a:extLst>
              </a:tr>
              <a:tr h="57639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fr-FR" sz="2000" b="1" dirty="0">
                          <a:solidFill>
                            <a:srgbClr val="FF0000"/>
                          </a:solidFill>
                        </a:rPr>
                        <a:t>Modèle en bar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20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ar-MA" sz="2000" b="1" dirty="0">
                          <a:solidFill>
                            <a:srgbClr val="106583"/>
                          </a:solidFill>
                        </a:rPr>
                        <a:t>نموذج الأشرطة </a:t>
                      </a:r>
                      <a:endParaRPr lang="fr-FR" sz="2000" b="1" dirty="0">
                        <a:solidFill>
                          <a:srgbClr val="106583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606580"/>
                  </a:ext>
                </a:extLst>
              </a:tr>
              <a:tr h="57639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fr-FR" sz="2000" b="1" dirty="0">
                          <a:solidFill>
                            <a:srgbClr val="FF0000"/>
                          </a:solidFill>
                        </a:rPr>
                        <a:t>L’ad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20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ar-MA" sz="2000" b="1" dirty="0">
                          <a:solidFill>
                            <a:srgbClr val="106583"/>
                          </a:solidFill>
                        </a:rPr>
                        <a:t>الجمع</a:t>
                      </a:r>
                      <a:endParaRPr lang="fr-FR" sz="2000" b="1" dirty="0">
                        <a:solidFill>
                          <a:srgbClr val="106583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855413"/>
                  </a:ext>
                </a:extLst>
              </a:tr>
              <a:tr h="57639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fr-FR" sz="2000" b="1" dirty="0">
                          <a:solidFill>
                            <a:srgbClr val="FF0000"/>
                          </a:solidFill>
                        </a:rPr>
                        <a:t>La soustr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20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ar-MA" sz="2000" b="1" dirty="0">
                          <a:solidFill>
                            <a:srgbClr val="002060"/>
                          </a:solidFill>
                        </a:rPr>
                        <a:t>الطرح</a:t>
                      </a:r>
                      <a:endParaRPr lang="fr-FR" sz="20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880059"/>
                  </a:ext>
                </a:extLst>
              </a:tr>
              <a:tr h="57639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fr-FR" sz="2000" b="1" dirty="0">
                          <a:solidFill>
                            <a:srgbClr val="FF0000"/>
                          </a:solidFill>
                        </a:rPr>
                        <a:t>L’égalit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20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ar-MA" sz="2000" b="1" dirty="0">
                          <a:solidFill>
                            <a:srgbClr val="002060"/>
                          </a:solidFill>
                        </a:rPr>
                        <a:t>المتساوية </a:t>
                      </a:r>
                      <a:endParaRPr lang="fr-FR" sz="20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2078520"/>
                  </a:ext>
                </a:extLst>
              </a:tr>
              <a:tr h="57639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fr-FR" sz="2000" b="1" dirty="0">
                          <a:solidFill>
                            <a:srgbClr val="FF0000"/>
                          </a:solidFill>
                        </a:rPr>
                        <a:t>Expression mathématiq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20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ar-MA" sz="2000" b="1" dirty="0">
                          <a:solidFill>
                            <a:srgbClr val="002060"/>
                          </a:solidFill>
                        </a:rPr>
                        <a:t>عبارة </a:t>
                      </a:r>
                      <a:r>
                        <a:rPr lang="ar-MA" sz="2000" b="1" dirty="0" err="1">
                          <a:solidFill>
                            <a:srgbClr val="002060"/>
                          </a:solidFill>
                        </a:rPr>
                        <a:t>رياضياتية</a:t>
                      </a:r>
                      <a:r>
                        <a:rPr lang="ar-MA" sz="2000" b="1" dirty="0">
                          <a:solidFill>
                            <a:srgbClr val="002060"/>
                          </a:solidFill>
                        </a:rPr>
                        <a:t> </a:t>
                      </a:r>
                      <a:endParaRPr lang="fr-FR" sz="20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384340"/>
                  </a:ext>
                </a:extLst>
              </a:tr>
            </a:tbl>
          </a:graphicData>
        </a:graphic>
      </p:graphicFrame>
      <p:pic>
        <p:nvPicPr>
          <p:cNvPr id="8" name="Picture 27">
            <a:extLst>
              <a:ext uri="{FF2B5EF4-FFF2-40B4-BE49-F238E27FC236}">
                <a16:creationId xmlns:a16="http://schemas.microsoft.com/office/drawing/2014/main" id="{F948002E-B8D0-1D8A-5F04-58447DF0AA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138972">
            <a:off x="1259312" y="278435"/>
            <a:ext cx="1022902" cy="1010503"/>
          </a:xfrm>
          <a:prstGeom prst="rect">
            <a:avLst/>
          </a:prstGeom>
        </p:spPr>
      </p:pic>
      <p:grpSp>
        <p:nvGrpSpPr>
          <p:cNvPr id="2" name="Group 67">
            <a:extLst>
              <a:ext uri="{FF2B5EF4-FFF2-40B4-BE49-F238E27FC236}">
                <a16:creationId xmlns:a16="http://schemas.microsoft.com/office/drawing/2014/main" id="{22C3A435-1815-EA30-01FF-09796573F768}"/>
              </a:ext>
            </a:extLst>
          </p:cNvPr>
          <p:cNvGrpSpPr/>
          <p:nvPr/>
        </p:nvGrpSpPr>
        <p:grpSpPr>
          <a:xfrm>
            <a:off x="34964" y="-42260"/>
            <a:ext cx="1635152" cy="1477553"/>
            <a:chOff x="1324314" y="2022921"/>
            <a:chExt cx="1656987" cy="1643283"/>
          </a:xfrm>
        </p:grpSpPr>
        <p:pic>
          <p:nvPicPr>
            <p:cNvPr id="10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7AA5531A-5949-BDEB-8B72-28526C3BD3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4" y="2022921"/>
              <a:ext cx="1643283" cy="1643283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8B1B900-B2E6-BA84-41D7-0EEDD4127156}"/>
                </a:ext>
              </a:extLst>
            </p:cNvPr>
            <p:cNvSpPr/>
            <p:nvPr/>
          </p:nvSpPr>
          <p:spPr>
            <a:xfrm>
              <a:off x="1398054" y="3203735"/>
              <a:ext cx="1583247" cy="4447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" name="Groupe 13">
            <a:extLst>
              <a:ext uri="{FF2B5EF4-FFF2-40B4-BE49-F238E27FC236}">
                <a16:creationId xmlns:a16="http://schemas.microsoft.com/office/drawing/2014/main" id="{3A55E9F6-C894-47DC-BFAB-A31661393C14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8" name="Rectangle : coins arrondis 14">
              <a:extLst>
                <a:ext uri="{FF2B5EF4-FFF2-40B4-BE49-F238E27FC236}">
                  <a16:creationId xmlns:a16="http://schemas.microsoft.com/office/drawing/2014/main" id="{215A4ED2-1500-0449-C963-AF8B7A646F29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9" name="Rectangle : coins arrondis 15">
              <a:extLst>
                <a:ext uri="{FF2B5EF4-FFF2-40B4-BE49-F238E27FC236}">
                  <a16:creationId xmlns:a16="http://schemas.microsoft.com/office/drawing/2014/main" id="{015D1B01-D554-43F5-2B81-3A2FB723D8A7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ممارسة مستقلة</a:t>
              </a:r>
            </a:p>
          </p:txBody>
        </p:sp>
        <p:sp>
          <p:nvSpPr>
            <p:cNvPr id="20" name="Rectangle : coins arrondis 16">
              <a:extLst>
                <a:ext uri="{FF2B5EF4-FFF2-40B4-BE49-F238E27FC236}">
                  <a16:creationId xmlns:a16="http://schemas.microsoft.com/office/drawing/2014/main" id="{AF219F11-F751-8EF5-C20D-5B346EF98F93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ممارسة موجهة</a:t>
              </a:r>
            </a:p>
          </p:txBody>
        </p:sp>
        <p:sp>
          <p:nvSpPr>
            <p:cNvPr id="23" name="Rectangle : coins arrondis 17">
              <a:extLst>
                <a:ext uri="{FF2B5EF4-FFF2-40B4-BE49-F238E27FC236}">
                  <a16:creationId xmlns:a16="http://schemas.microsoft.com/office/drawing/2014/main" id="{865C4EE8-99BF-CE34-F75E-065126112B65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نمذجة</a:t>
              </a:r>
            </a:p>
          </p:txBody>
        </p:sp>
        <p:sp>
          <p:nvSpPr>
            <p:cNvPr id="24" name="Rectangle : coins arrondis 18">
              <a:extLst>
                <a:ext uri="{FF2B5EF4-FFF2-40B4-BE49-F238E27FC236}">
                  <a16:creationId xmlns:a16="http://schemas.microsoft.com/office/drawing/2014/main" id="{C75A8BC4-3ED0-9946-D4DD-1D77C6CB3CBB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56202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9F9DAF-FEB0-9D4E-BD37-F0E15DD7E7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E919257-07B5-9113-D535-8A4DFDAFB1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919257-07B5-9113-D535-8A4DFDAFB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F4A5AEFA-CADC-C1F7-EF63-79D459C0C3E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ctr" defTabSz="609630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203EC99-6BE2-3A6A-FF04-334425913CDE}"/>
              </a:ext>
            </a:extLst>
          </p:cNvPr>
          <p:cNvSpPr txBox="1"/>
          <p:nvPr/>
        </p:nvSpPr>
        <p:spPr>
          <a:xfrm>
            <a:off x="1259632" y="926405"/>
            <a:ext cx="6858000" cy="453463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4" rtl="1"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افتتاح الحصة</a:t>
            </a:r>
          </a:p>
          <a:p>
            <a:pPr algn="ctr" defTabSz="685834" rtl="1">
              <a:defRPr/>
            </a:pPr>
            <a:endParaRPr lang="en-GB" sz="2667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أصحح أنشطتي المنزلية</a:t>
            </a:r>
          </a:p>
          <a:p>
            <a:pPr algn="ctr" defTabSz="685834" rtl="1">
              <a:defRPr/>
            </a:pPr>
            <a:endParaRPr lang="ar-MA" sz="3200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أحسب ذهنيا</a:t>
            </a:r>
          </a:p>
          <a:p>
            <a:pPr algn="ctr" defTabSz="685834" rtl="1">
              <a:defRPr/>
            </a:pPr>
            <a:endParaRPr lang="ar-MA" sz="3200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التناوب اللغوي</a:t>
            </a:r>
          </a:p>
          <a:p>
            <a:pPr algn="ctr" defTabSz="685834" rtl="1">
              <a:defRPr/>
            </a:pPr>
            <a:endParaRPr lang="fr-FR" sz="3200" b="1" dirty="0">
              <a:solidFill>
                <a:prstClr val="white">
                  <a:lumMod val="75000"/>
                </a:prstClr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أنشط مستلزمات الدرس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EC1D53DE-FB3F-2523-7222-14FD81443BE3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/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21D415A7-AF5F-FCC2-67A0-3221B899E9EF}"/>
              </a:ext>
            </a:extLst>
          </p:cNvPr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/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1" name="Image 12">
            <a:extLst>
              <a:ext uri="{FF2B5EF4-FFF2-40B4-BE49-F238E27FC236}">
                <a16:creationId xmlns:a16="http://schemas.microsoft.com/office/drawing/2014/main" id="{131F687A-0CA4-F215-848A-AB77DB376583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423970" y="4842811"/>
            <a:ext cx="812326" cy="449702"/>
          </a:xfrm>
          <a:prstGeom prst="rect">
            <a:avLst/>
          </a:prstGeom>
        </p:spPr>
      </p:pic>
      <p:grpSp>
        <p:nvGrpSpPr>
          <p:cNvPr id="2" name="Group 67">
            <a:extLst>
              <a:ext uri="{FF2B5EF4-FFF2-40B4-BE49-F238E27FC236}">
                <a16:creationId xmlns:a16="http://schemas.microsoft.com/office/drawing/2014/main" id="{3D6ADCF9-23D7-2418-3FB7-1E7CAC2DA5B5}"/>
              </a:ext>
            </a:extLst>
          </p:cNvPr>
          <p:cNvGrpSpPr/>
          <p:nvPr/>
        </p:nvGrpSpPr>
        <p:grpSpPr>
          <a:xfrm>
            <a:off x="1691680" y="4255703"/>
            <a:ext cx="1635152" cy="1477553"/>
            <a:chOff x="1324314" y="2022921"/>
            <a:chExt cx="1656987" cy="1643283"/>
          </a:xfrm>
        </p:grpSpPr>
        <p:pic>
          <p:nvPicPr>
            <p:cNvPr id="4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DF4AAD4A-026E-5D33-7F73-52845A1EDD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4" y="2022921"/>
              <a:ext cx="1643283" cy="1643283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86E75BC-0229-D034-59ED-1AD11714D2D4}"/>
                </a:ext>
              </a:extLst>
            </p:cNvPr>
            <p:cNvSpPr/>
            <p:nvPr/>
          </p:nvSpPr>
          <p:spPr>
            <a:xfrm>
              <a:off x="1398054" y="3203735"/>
              <a:ext cx="1583247" cy="4447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95367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C81E5-2CF4-A105-78FB-57181B6B2E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FB923EB-66C5-ABEC-C778-6A4B7AB61908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5B762B6F-90B1-BD7A-BBF7-4481FAAE6096}"/>
              </a:ext>
            </a:extLst>
          </p:cNvPr>
          <p:cNvSpPr/>
          <p:nvPr/>
        </p:nvSpPr>
        <p:spPr>
          <a:xfrm>
            <a:off x="298960" y="383937"/>
            <a:ext cx="8518967" cy="6130461"/>
          </a:xfrm>
          <a:prstGeom prst="roundRect">
            <a:avLst>
              <a:gd name="adj" fmla="val 1963"/>
            </a:avLst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7495FE75-A487-88D0-63B5-2BC3738726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grpSp>
        <p:nvGrpSpPr>
          <p:cNvPr id="16" name="Groupe 13">
            <a:extLst>
              <a:ext uri="{FF2B5EF4-FFF2-40B4-BE49-F238E27FC236}">
                <a16:creationId xmlns:a16="http://schemas.microsoft.com/office/drawing/2014/main" id="{B885DB93-5692-D3F7-8821-12C76CE6F4E8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8" name="Rectangle : coins arrondis 14">
              <a:extLst>
                <a:ext uri="{FF2B5EF4-FFF2-40B4-BE49-F238E27FC236}">
                  <a16:creationId xmlns:a16="http://schemas.microsoft.com/office/drawing/2014/main" id="{DEBE9621-FB41-1A08-1440-0D5D26090EE2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9" name="Rectangle : coins arrondis 15">
              <a:extLst>
                <a:ext uri="{FF2B5EF4-FFF2-40B4-BE49-F238E27FC236}">
                  <a16:creationId xmlns:a16="http://schemas.microsoft.com/office/drawing/2014/main" id="{EA74FFD2-57D6-141A-82EC-16A527D3E851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0" name="Rectangle : coins arrondis 16">
              <a:extLst>
                <a:ext uri="{FF2B5EF4-FFF2-40B4-BE49-F238E27FC236}">
                  <a16:creationId xmlns:a16="http://schemas.microsoft.com/office/drawing/2014/main" id="{93CC7F51-2F8E-B309-CD28-BCC30F480310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3" name="Rectangle : coins arrondis 17">
              <a:extLst>
                <a:ext uri="{FF2B5EF4-FFF2-40B4-BE49-F238E27FC236}">
                  <a16:creationId xmlns:a16="http://schemas.microsoft.com/office/drawing/2014/main" id="{4716A14D-9729-15B0-0234-A45A4A95BAB6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4" name="Rectangle : coins arrondis 18">
              <a:extLst>
                <a:ext uri="{FF2B5EF4-FFF2-40B4-BE49-F238E27FC236}">
                  <a16:creationId xmlns:a16="http://schemas.microsoft.com/office/drawing/2014/main" id="{5E37151C-5D5B-349D-889D-09131164874D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2FCAA936-1A4A-3C41-33A5-0FB701C25BD2}"/>
              </a:ext>
            </a:extLst>
          </p:cNvPr>
          <p:cNvSpPr txBox="1"/>
          <p:nvPr/>
        </p:nvSpPr>
        <p:spPr>
          <a:xfrm>
            <a:off x="539552" y="476672"/>
            <a:ext cx="78066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spcAft>
                <a:spcPts val="800"/>
              </a:spcAft>
            </a:pP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في نهاية حصة اليوم: ستكونون قادرين على حل مسائل وفق الخطوات الأربع</a:t>
            </a:r>
            <a:endParaRPr lang="fr-MA" i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A978979-6B22-1B61-C528-C8996D49C6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565" y="1196071"/>
            <a:ext cx="7443859" cy="4355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0740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E52C80-8B2F-9158-4A75-F37DA98A08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6C6A391-F246-F2A1-D1EF-72CA428D1CB0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BB471EEC-80F0-7EBF-EF1D-0BB4577B262D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A70C5FC7-FFAD-6F7C-26A9-8546524A26B8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FF5DABFB-E3C8-9D10-CEB1-1075F42D932A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B2AB369C-E861-F3C9-2A98-33799B2BA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7DEA8EB3-F1B4-607C-B239-AD825B69AEA7}"/>
              </a:ext>
            </a:extLst>
          </p:cNvPr>
          <p:cNvSpPr txBox="1"/>
          <p:nvPr/>
        </p:nvSpPr>
        <p:spPr>
          <a:xfrm>
            <a:off x="1475656" y="552186"/>
            <a:ext cx="669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نحاول جماعة  إيجاد حل لهذه المسألة بالاستعانة بنموذج الأشرطة 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5D3C8FF-E408-9558-F7E9-0FCB9E07C0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565" y="1196071"/>
            <a:ext cx="7443859" cy="4355283"/>
          </a:xfrm>
          <a:prstGeom prst="rect">
            <a:avLst/>
          </a:prstGeom>
        </p:spPr>
      </p:pic>
      <p:grpSp>
        <p:nvGrpSpPr>
          <p:cNvPr id="17" name="Groupe 13">
            <a:extLst>
              <a:ext uri="{FF2B5EF4-FFF2-40B4-BE49-F238E27FC236}">
                <a16:creationId xmlns:a16="http://schemas.microsoft.com/office/drawing/2014/main" id="{66D4FFA2-4973-1876-8E52-522EC1F8638C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8" name="Rectangle : coins arrondis 14">
              <a:extLst>
                <a:ext uri="{FF2B5EF4-FFF2-40B4-BE49-F238E27FC236}">
                  <a16:creationId xmlns:a16="http://schemas.microsoft.com/office/drawing/2014/main" id="{F86CF026-E2AD-03BB-3DBA-15541DE8990D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9" name="Rectangle : coins arrondis 15">
              <a:extLst>
                <a:ext uri="{FF2B5EF4-FFF2-40B4-BE49-F238E27FC236}">
                  <a16:creationId xmlns:a16="http://schemas.microsoft.com/office/drawing/2014/main" id="{4B10B58C-88B9-2B39-9FB9-F19AFFA0DE76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0" name="Rectangle : coins arrondis 16">
              <a:extLst>
                <a:ext uri="{FF2B5EF4-FFF2-40B4-BE49-F238E27FC236}">
                  <a16:creationId xmlns:a16="http://schemas.microsoft.com/office/drawing/2014/main" id="{8D3D3975-A840-2978-5C35-8D28D45C0B9F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3" name="Rectangle : coins arrondis 17">
              <a:extLst>
                <a:ext uri="{FF2B5EF4-FFF2-40B4-BE49-F238E27FC236}">
                  <a16:creationId xmlns:a16="http://schemas.microsoft.com/office/drawing/2014/main" id="{BEF46973-230D-C0CF-2592-E3B1BFDAAF51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4" name="Rectangle : coins arrondis 18">
              <a:extLst>
                <a:ext uri="{FF2B5EF4-FFF2-40B4-BE49-F238E27FC236}">
                  <a16:creationId xmlns:a16="http://schemas.microsoft.com/office/drawing/2014/main" id="{6BB5DC24-EDBF-8E18-F2D9-7C1AB88CA509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81555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0D71DA-CE52-9004-BDF4-114BB9D5DF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6203A7F-08E3-494C-EBA6-6CF4AC3DEC65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3546E239-DDA3-493C-B2DE-093D7CACD0E6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9056A719-E5B9-B866-1E6F-CF3E633B9B47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009161E4-2AEA-3547-146A-D15F9A60EA4E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E090FEBA-3F6D-CF5F-23ED-5CCD08562A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9024514F-49B6-C4CE-DFDA-AC65A7AF77C4}"/>
              </a:ext>
            </a:extLst>
          </p:cNvPr>
          <p:cNvSpPr txBox="1"/>
          <p:nvPr/>
        </p:nvSpPr>
        <p:spPr>
          <a:xfrm>
            <a:off x="1475656" y="552186"/>
            <a:ext cx="669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 سأقرأ المسألة :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20EE85F-1B97-A065-0082-4F6343C50548}"/>
              </a:ext>
            </a:extLst>
          </p:cNvPr>
          <p:cNvSpPr/>
          <p:nvPr/>
        </p:nvSpPr>
        <p:spPr>
          <a:xfrm>
            <a:off x="395536" y="1563122"/>
            <a:ext cx="8208880" cy="323402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في متجر للوازم الرياضية، اِشترى أحمد  بذلة رياضية بثمن 219درهما وحذاءً رياضياً بثمن 199درهماً ثم كرة بثمن 130درهما. ما المبلغ الذي أداه أحمد للبائع؟</a:t>
            </a:r>
            <a:endParaRPr lang="fr-FR" sz="2800" b="1" dirty="0">
              <a:latin typeface="+mj-lt"/>
            </a:endParaRPr>
          </a:p>
          <a:p>
            <a:pPr algn="ctr"/>
            <a:endParaRPr lang="fr-FR" sz="2800" dirty="0"/>
          </a:p>
        </p:txBody>
      </p:sp>
      <p:grpSp>
        <p:nvGrpSpPr>
          <p:cNvPr id="11" name="Groupe 13">
            <a:extLst>
              <a:ext uri="{FF2B5EF4-FFF2-40B4-BE49-F238E27FC236}">
                <a16:creationId xmlns:a16="http://schemas.microsoft.com/office/drawing/2014/main" id="{97E95242-E6C0-721E-3095-40F3A00D1959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2" name="Rectangle : coins arrondis 14">
              <a:extLst>
                <a:ext uri="{FF2B5EF4-FFF2-40B4-BE49-F238E27FC236}">
                  <a16:creationId xmlns:a16="http://schemas.microsoft.com/office/drawing/2014/main" id="{50CBA24C-AC57-B8BF-7E4C-B7243E73CB4D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3" name="Rectangle : coins arrondis 15">
              <a:extLst>
                <a:ext uri="{FF2B5EF4-FFF2-40B4-BE49-F238E27FC236}">
                  <a16:creationId xmlns:a16="http://schemas.microsoft.com/office/drawing/2014/main" id="{DBC20569-7CB1-D7EC-AC84-4162F7223E91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4" name="Rectangle : coins arrondis 16">
              <a:extLst>
                <a:ext uri="{FF2B5EF4-FFF2-40B4-BE49-F238E27FC236}">
                  <a16:creationId xmlns:a16="http://schemas.microsoft.com/office/drawing/2014/main" id="{B34D5CA8-A228-ABA5-F265-61635B808C15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5" name="Rectangle : coins arrondis 17">
              <a:extLst>
                <a:ext uri="{FF2B5EF4-FFF2-40B4-BE49-F238E27FC236}">
                  <a16:creationId xmlns:a16="http://schemas.microsoft.com/office/drawing/2014/main" id="{E500D0A6-1F93-0B24-3E73-5D42CBCB6ED1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0" name="Rectangle : coins arrondis 18">
              <a:extLst>
                <a:ext uri="{FF2B5EF4-FFF2-40B4-BE49-F238E27FC236}">
                  <a16:creationId xmlns:a16="http://schemas.microsoft.com/office/drawing/2014/main" id="{17B4FBDB-5670-35DF-B474-1E6455FE8767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762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-184657"/>
            <a:ext cx="9144000" cy="7042657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5555" b="-5555"/>
            </a:stretch>
          </a:blipFill>
        </p:spPr>
        <p:txBody>
          <a:bodyPr/>
          <a:lstStyle/>
          <a:p>
            <a:pPr defTabSz="457223">
              <a:defRPr/>
            </a:pPr>
            <a:endParaRPr lang="fr-MA" sz="90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889000" y="-15902"/>
            <a:ext cx="7366000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457223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برمجة الأسبوع الأول</a:t>
            </a:r>
            <a:endParaRPr lang="fr-FR" sz="44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reeform 4">
            <a:extLst>
              <a:ext uri="{FF2B5EF4-FFF2-40B4-BE49-F238E27FC236}">
                <a16:creationId xmlns:a16="http://schemas.microsoft.com/office/drawing/2014/main" id="{C923549F-53AE-6115-AD3B-DAC295644127}"/>
              </a:ext>
            </a:extLst>
          </p:cNvPr>
          <p:cNvSpPr/>
          <p:nvPr/>
        </p:nvSpPr>
        <p:spPr>
          <a:xfrm>
            <a:off x="336078" y="1249536"/>
            <a:ext cx="8496000" cy="4572000"/>
          </a:xfrm>
          <a:custGeom>
            <a:avLst/>
            <a:gdLst/>
            <a:ahLst/>
            <a:cxnLst/>
            <a:rect l="l" t="t" r="r" b="b"/>
            <a:pathLst>
              <a:path w="3895412" h="2555175">
                <a:moveTo>
                  <a:pt x="6703" y="0"/>
                </a:moveTo>
                <a:lnTo>
                  <a:pt x="3888710" y="0"/>
                </a:lnTo>
                <a:cubicBezTo>
                  <a:pt x="3892411" y="0"/>
                  <a:pt x="3895412" y="3001"/>
                  <a:pt x="3895412" y="6703"/>
                </a:cubicBezTo>
                <a:lnTo>
                  <a:pt x="3895412" y="2548473"/>
                </a:lnTo>
                <a:cubicBezTo>
                  <a:pt x="3895412" y="2550250"/>
                  <a:pt x="3894706" y="2551955"/>
                  <a:pt x="3893449" y="2553212"/>
                </a:cubicBezTo>
                <a:cubicBezTo>
                  <a:pt x="3892192" y="2554469"/>
                  <a:pt x="3890487" y="2555175"/>
                  <a:pt x="3888710" y="2555175"/>
                </a:cubicBezTo>
                <a:lnTo>
                  <a:pt x="6703" y="2555175"/>
                </a:lnTo>
                <a:cubicBezTo>
                  <a:pt x="4925" y="2555175"/>
                  <a:pt x="3220" y="2554469"/>
                  <a:pt x="1963" y="2553212"/>
                </a:cubicBezTo>
                <a:cubicBezTo>
                  <a:pt x="706" y="2551955"/>
                  <a:pt x="0" y="2550250"/>
                  <a:pt x="0" y="2548473"/>
                </a:cubicBezTo>
                <a:lnTo>
                  <a:pt x="0" y="6703"/>
                </a:lnTo>
                <a:cubicBezTo>
                  <a:pt x="0" y="4925"/>
                  <a:pt x="706" y="3220"/>
                  <a:pt x="1963" y="1963"/>
                </a:cubicBezTo>
                <a:cubicBezTo>
                  <a:pt x="3220" y="706"/>
                  <a:pt x="4925" y="0"/>
                  <a:pt x="6703" y="0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rgbClr val="1E3F48"/>
            </a:solidFill>
          </a:ln>
        </p:spPr>
        <p:txBody>
          <a:bodyPr/>
          <a:lstStyle/>
          <a:p>
            <a:pPr algn="r" defTabSz="457223" rtl="1">
              <a:lnSpc>
                <a:spcPct val="106000"/>
              </a:lnSpc>
              <a:spcAft>
                <a:spcPts val="533"/>
              </a:spcAft>
              <a:defRPr/>
            </a:pPr>
            <a:endParaRPr lang="fr-MA" sz="1200" kern="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3C896461-29D9-7E62-16A3-6D2CAB824F76}"/>
              </a:ext>
            </a:extLst>
          </p:cNvPr>
          <p:cNvSpPr/>
          <p:nvPr/>
        </p:nvSpPr>
        <p:spPr>
          <a:xfrm>
            <a:off x="7805232" y="830796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457223">
              <a:defRPr/>
            </a:pPr>
            <a:endParaRPr lang="fr-MA" sz="90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6C004A5-5594-0A37-DA2B-BF75A553854D}"/>
              </a:ext>
            </a:extLst>
          </p:cNvPr>
          <p:cNvGrpSpPr/>
          <p:nvPr/>
        </p:nvGrpSpPr>
        <p:grpSpPr>
          <a:xfrm>
            <a:off x="510720" y="1594352"/>
            <a:ext cx="8146715" cy="4014112"/>
            <a:chOff x="1317457" y="1899163"/>
            <a:chExt cx="11513818" cy="281619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DB757406-B9B4-DCD5-A166-A117AAB265C2}"/>
                </a:ext>
              </a:extLst>
            </p:cNvPr>
            <p:cNvSpPr/>
            <p:nvPr/>
          </p:nvSpPr>
          <p:spPr>
            <a:xfrm>
              <a:off x="10327093" y="1899188"/>
              <a:ext cx="2504182" cy="504000"/>
            </a:xfrm>
            <a:prstGeom prst="roundRect">
              <a:avLst/>
            </a:prstGeom>
            <a:solidFill>
              <a:srgbClr val="106585"/>
            </a:soli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 rtl="1">
                <a:defRPr/>
              </a:pPr>
              <a:r>
                <a:rPr lang="ar-MA" sz="2667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 1</a:t>
              </a:r>
              <a:endParaRPr lang="fr-FR" sz="2667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749BBBBC-3E58-4F56-0101-002F411FE988}"/>
                </a:ext>
              </a:extLst>
            </p:cNvPr>
            <p:cNvSpPr/>
            <p:nvPr/>
          </p:nvSpPr>
          <p:spPr>
            <a:xfrm>
              <a:off x="10327093" y="2464333"/>
              <a:ext cx="2504182" cy="504000"/>
            </a:xfrm>
            <a:prstGeom prst="roundRect">
              <a:avLst/>
            </a:prstGeom>
            <a:solidFill>
              <a:srgbClr val="106585"/>
            </a:soli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 rtl="1">
                <a:defRPr/>
              </a:pPr>
              <a:r>
                <a:rPr lang="ar-MA" sz="2667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 2</a:t>
              </a:r>
              <a:endParaRPr lang="fr-FR" sz="2667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55C2E463-9453-7EA4-DA3F-87E9C7CEB2EB}"/>
                </a:ext>
              </a:extLst>
            </p:cNvPr>
            <p:cNvSpPr/>
            <p:nvPr/>
          </p:nvSpPr>
          <p:spPr>
            <a:xfrm>
              <a:off x="10327093" y="3029478"/>
              <a:ext cx="2504182" cy="504000"/>
            </a:xfrm>
            <a:prstGeom prst="roundRect">
              <a:avLst/>
            </a:prstGeom>
            <a:solidFill>
              <a:srgbClr val="106585"/>
            </a:soli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 rtl="1">
                <a:defRPr/>
              </a:pPr>
              <a:r>
                <a:rPr lang="ar-MA" sz="2667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 3</a:t>
              </a:r>
              <a:endParaRPr lang="fr-FR" sz="2667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AA6E2A9B-92FF-5D90-E794-A94D6F76F3DA}"/>
                </a:ext>
              </a:extLst>
            </p:cNvPr>
            <p:cNvSpPr/>
            <p:nvPr/>
          </p:nvSpPr>
          <p:spPr>
            <a:xfrm>
              <a:off x="10327093" y="3594623"/>
              <a:ext cx="2504182" cy="504000"/>
            </a:xfrm>
            <a:prstGeom prst="roundRect">
              <a:avLst/>
            </a:prstGeom>
            <a:solidFill>
              <a:srgbClr val="106585"/>
            </a:soli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 rtl="1">
                <a:defRPr/>
              </a:pPr>
              <a:r>
                <a:rPr lang="ar-MA" sz="2667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 4</a:t>
              </a:r>
              <a:endParaRPr lang="fr-FR" sz="2667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0C8A629-8017-BA24-A1D7-1B71254139A0}"/>
                </a:ext>
              </a:extLst>
            </p:cNvPr>
            <p:cNvGrpSpPr/>
            <p:nvPr/>
          </p:nvGrpSpPr>
          <p:grpSpPr>
            <a:xfrm>
              <a:off x="1317457" y="1899163"/>
              <a:ext cx="11513817" cy="2816195"/>
              <a:chOff x="1317457" y="1899163"/>
              <a:chExt cx="11513817" cy="2816195"/>
            </a:xfrm>
          </p:grpSpPr>
          <p:sp>
            <p:nvSpPr>
              <p:cNvPr id="47" name="Rectangle : coins arrondis 11">
                <a:extLst>
                  <a:ext uri="{FF2B5EF4-FFF2-40B4-BE49-F238E27FC236}">
                    <a16:creationId xmlns:a16="http://schemas.microsoft.com/office/drawing/2014/main" id="{4BB9EA6D-F90D-896C-10BF-34245254AB9C}"/>
                  </a:ext>
                </a:extLst>
              </p:cNvPr>
              <p:cNvSpPr/>
              <p:nvPr/>
            </p:nvSpPr>
            <p:spPr>
              <a:xfrm>
                <a:off x="1317458" y="1899163"/>
                <a:ext cx="8763000" cy="504000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F2F2F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rtl="1"/>
                <a:r>
                  <a:rPr lang="ar-MA" sz="2000" b="1" kern="0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فصل الملايين: قراءة وكتابة.</a:t>
                </a:r>
                <a:endParaRPr lang="fr-FR" sz="2000" b="1" kern="0" dirty="0">
                  <a:solidFill>
                    <a:schemeClr val="accent3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r" rtl="1"/>
                <a:r>
                  <a:rPr lang="ar-MA" sz="2000" b="1" kern="0">
                    <a:solidFill>
                      <a:schemeClr val="accent4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تفكيك وتركيب </a:t>
                </a:r>
                <a:r>
                  <a:rPr lang="ar-MA" sz="2000" b="1" kern="0" dirty="0">
                    <a:solidFill>
                      <a:schemeClr val="accent4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الأعداد الصحيحة الطبيعية</a:t>
                </a:r>
                <a:endParaRPr lang="fr-FR" sz="2000" b="1" kern="0" dirty="0">
                  <a:solidFill>
                    <a:schemeClr val="accent4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8" name="Rectangle : coins arrondis 11">
                <a:extLst>
                  <a:ext uri="{FF2B5EF4-FFF2-40B4-BE49-F238E27FC236}">
                    <a16:creationId xmlns:a16="http://schemas.microsoft.com/office/drawing/2014/main" id="{17661C69-542B-6F06-13B3-EAB00DA30A95}"/>
                  </a:ext>
                </a:extLst>
              </p:cNvPr>
              <p:cNvSpPr/>
              <p:nvPr/>
            </p:nvSpPr>
            <p:spPr>
              <a:xfrm>
                <a:off x="1317458" y="2492384"/>
                <a:ext cx="8763000" cy="504000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F2F2F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rtl="1"/>
                <a:r>
                  <a:rPr lang="ar-MA" sz="2000" b="1" kern="0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الأعداد من 0 إلى 999 </a:t>
                </a:r>
                <a:r>
                  <a:rPr lang="fr-FR" sz="2000" b="1" kern="0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999</a:t>
                </a:r>
                <a:r>
                  <a:rPr lang="ar-MA" sz="2000" b="1" kern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999 تفكيك وتركيب</a:t>
                </a:r>
              </a:p>
              <a:p>
                <a:pPr algn="r" rtl="1"/>
                <a:r>
                  <a:rPr lang="ar-MA" sz="2000" b="1" kern="0">
                    <a:solidFill>
                      <a:schemeClr val="accent4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تفكيك </a:t>
                </a:r>
                <a:r>
                  <a:rPr lang="ar-MA" sz="2000" b="1" kern="0" dirty="0">
                    <a:solidFill>
                      <a:schemeClr val="accent4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وتركيب الأعداد باستعمال قوى العدد عشرة</a:t>
                </a:r>
                <a:endParaRPr lang="fr-FR" sz="2000" b="1" kern="0" dirty="0">
                  <a:solidFill>
                    <a:schemeClr val="accent4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" name="Rectangle : coins arrondis 11">
                <a:extLst>
                  <a:ext uri="{FF2B5EF4-FFF2-40B4-BE49-F238E27FC236}">
                    <a16:creationId xmlns:a16="http://schemas.microsoft.com/office/drawing/2014/main" id="{625B587A-5D2B-3B6B-16BB-0EBF5873F920}"/>
                  </a:ext>
                </a:extLst>
              </p:cNvPr>
              <p:cNvSpPr/>
              <p:nvPr/>
            </p:nvSpPr>
            <p:spPr>
              <a:xfrm>
                <a:off x="1317458" y="3034057"/>
                <a:ext cx="8763000" cy="504000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F2F2F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rtl="1"/>
                <a:r>
                  <a:rPr lang="ar-MA" sz="2000" b="1" kern="0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وضع وإنجاز عمليات جمع وطرح بالأقواس</a:t>
                </a:r>
              </a:p>
              <a:p>
                <a:pPr algn="r" rtl="1"/>
                <a:r>
                  <a:rPr lang="ar-MA" sz="2000" b="1" kern="0" dirty="0">
                    <a:solidFill>
                      <a:schemeClr val="accent4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أولوية العمليات الحسابية (1)</a:t>
                </a:r>
              </a:p>
            </p:txBody>
          </p:sp>
          <p:sp>
            <p:nvSpPr>
              <p:cNvPr id="50" name="Rectangle : coins arrondis 11">
                <a:extLst>
                  <a:ext uri="{FF2B5EF4-FFF2-40B4-BE49-F238E27FC236}">
                    <a16:creationId xmlns:a16="http://schemas.microsoft.com/office/drawing/2014/main" id="{0ED536FD-6CE4-DEAD-7523-3C4FA7EC6914}"/>
                  </a:ext>
                </a:extLst>
              </p:cNvPr>
              <p:cNvSpPr/>
              <p:nvPr/>
            </p:nvSpPr>
            <p:spPr>
              <a:xfrm>
                <a:off x="1317458" y="3601504"/>
                <a:ext cx="8763000" cy="504000"/>
              </a:xfrm>
              <a:prstGeom prst="round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rgbClr val="F2F2F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rtl="1"/>
                <a:r>
                  <a:rPr lang="ar-MA" sz="2000" b="1" kern="0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حل المسائل: البحث عن الجزء أو الكل</a:t>
                </a:r>
              </a:p>
              <a:p>
                <a:pPr algn="r" rtl="1"/>
                <a:r>
                  <a:rPr lang="ar-MA" sz="2000" b="1" kern="0" dirty="0">
                    <a:solidFill>
                      <a:schemeClr val="accent4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حل المسائل : البحث عن الجزء أو الكل</a:t>
                </a:r>
              </a:p>
            </p:txBody>
          </p:sp>
          <p:sp>
            <p:nvSpPr>
              <p:cNvPr id="59" name="Rectangle : coins arrondis 11">
                <a:extLst>
                  <a:ext uri="{FF2B5EF4-FFF2-40B4-BE49-F238E27FC236}">
                    <a16:creationId xmlns:a16="http://schemas.microsoft.com/office/drawing/2014/main" id="{F6029B90-B671-B5DB-1FAF-24BC936BA12C}"/>
                  </a:ext>
                </a:extLst>
              </p:cNvPr>
              <p:cNvSpPr/>
              <p:nvPr/>
            </p:nvSpPr>
            <p:spPr>
              <a:xfrm>
                <a:off x="1317457" y="4211358"/>
                <a:ext cx="11513817" cy="504000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>
                <a:solidFill>
                  <a:srgbClr val="F2F2F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1"/>
                <a:r>
                  <a:rPr lang="ar-MA" sz="2400" b="1" dirty="0">
                    <a:solidFill>
                      <a:srgbClr val="1E3F48"/>
                    </a:solidFill>
                  </a:rPr>
                  <a:t>مراجعة وتثبيت دروس الأسبوع الأول</a:t>
                </a:r>
              </a:p>
            </p:txBody>
          </p:sp>
        </p:grpSp>
        <p:sp>
          <p:nvSpPr>
            <p:cNvPr id="44" name="Rectangle : coins arrondis 12">
              <a:extLst>
                <a:ext uri="{FF2B5EF4-FFF2-40B4-BE49-F238E27FC236}">
                  <a16:creationId xmlns:a16="http://schemas.microsoft.com/office/drawing/2014/main" id="{F9DD0755-4274-4455-A4E4-43FDF1C9D13E}"/>
                </a:ext>
              </a:extLst>
            </p:cNvPr>
            <p:cNvSpPr/>
            <p:nvPr/>
          </p:nvSpPr>
          <p:spPr>
            <a:xfrm>
              <a:off x="10327093" y="1902889"/>
              <a:ext cx="2504182" cy="504000"/>
            </a:xfrm>
            <a:prstGeom prst="roundRect">
              <a:avLst/>
            </a:prstGeom>
            <a:solidFill>
              <a:srgbClr val="106585"/>
            </a:soli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 rtl="1">
                <a:defRPr/>
              </a:pPr>
              <a:r>
                <a:rPr lang="ar-MA" sz="24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 1</a:t>
              </a:r>
              <a:endParaRPr lang="fr-FR" sz="2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Rectangle : coins arrondis 14">
              <a:extLst>
                <a:ext uri="{FF2B5EF4-FFF2-40B4-BE49-F238E27FC236}">
                  <a16:creationId xmlns:a16="http://schemas.microsoft.com/office/drawing/2014/main" id="{BACFBCDB-4544-4DDD-99F9-3404ADC86CFE}"/>
                </a:ext>
              </a:extLst>
            </p:cNvPr>
            <p:cNvSpPr/>
            <p:nvPr/>
          </p:nvSpPr>
          <p:spPr>
            <a:xfrm>
              <a:off x="10327093" y="2468034"/>
              <a:ext cx="2504182" cy="504000"/>
            </a:xfrm>
            <a:prstGeom prst="roundRect">
              <a:avLst/>
            </a:prstGeom>
            <a:solidFill>
              <a:srgbClr val="106585"/>
            </a:soli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 rtl="1">
                <a:defRPr/>
              </a:pPr>
              <a:r>
                <a:rPr lang="ar-MA" sz="24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 2</a:t>
              </a:r>
              <a:endParaRPr lang="fr-FR" sz="2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Rectangle : coins arrondis 16">
              <a:extLst>
                <a:ext uri="{FF2B5EF4-FFF2-40B4-BE49-F238E27FC236}">
                  <a16:creationId xmlns:a16="http://schemas.microsoft.com/office/drawing/2014/main" id="{6B29B207-0BE1-40F6-A6B0-901038E48324}"/>
                </a:ext>
              </a:extLst>
            </p:cNvPr>
            <p:cNvSpPr/>
            <p:nvPr/>
          </p:nvSpPr>
          <p:spPr>
            <a:xfrm>
              <a:off x="10327093" y="3033179"/>
              <a:ext cx="2504182" cy="504000"/>
            </a:xfrm>
            <a:prstGeom prst="roundRect">
              <a:avLst/>
            </a:prstGeom>
            <a:solidFill>
              <a:srgbClr val="106585"/>
            </a:soli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 rtl="1">
                <a:defRPr/>
              </a:pPr>
              <a:r>
                <a:rPr lang="ar-MA" sz="24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 3</a:t>
              </a:r>
              <a:endParaRPr lang="fr-FR" sz="2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Rectangle : coins arrondis 18">
              <a:extLst>
                <a:ext uri="{FF2B5EF4-FFF2-40B4-BE49-F238E27FC236}">
                  <a16:creationId xmlns:a16="http://schemas.microsoft.com/office/drawing/2014/main" id="{ED9CDC35-B09F-48BE-A2B6-40FF302E0398}"/>
                </a:ext>
              </a:extLst>
            </p:cNvPr>
            <p:cNvSpPr/>
            <p:nvPr/>
          </p:nvSpPr>
          <p:spPr>
            <a:xfrm>
              <a:off x="10327093" y="3598324"/>
              <a:ext cx="2504182" cy="504000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 rtl="1">
                <a:defRPr/>
              </a:pPr>
              <a:r>
                <a:rPr lang="ar-MA" sz="24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 4</a:t>
              </a:r>
              <a:endParaRPr lang="fr-FR" sz="2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97357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7669C2-AF55-5004-5BDC-2C6273C891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0E027DB-3FA5-C2FC-047B-0959F043E415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3B9DF7A8-6257-E780-4403-794553C8B160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2F3A4E9C-4E30-46D4-CED6-0AE9F53FD026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EA8A14BC-F6F2-AFD2-8832-8A0C196DDE08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288CBC5C-5015-1656-B668-D10F1A834F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404092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03760ACC-FBDB-DC80-33E7-E01BCD2D1C41}"/>
              </a:ext>
            </a:extLst>
          </p:cNvPr>
          <p:cNvSpPr txBox="1"/>
          <p:nvPr/>
        </p:nvSpPr>
        <p:spPr>
          <a:xfrm>
            <a:off x="251520" y="552186"/>
            <a:ext cx="820888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حل المسألة سنتبع استراتيجية الأسئلة الأربعة. من يذكرنا بالسؤال الأول : </a:t>
            </a:r>
            <a:r>
              <a:rPr lang="ar-MA" sz="14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هي المعطيات المقدمة في المسألة ؟</a:t>
            </a:r>
          </a:p>
          <a:p>
            <a:pPr algn="r" rtl="1"/>
            <a:r>
              <a:rPr lang="ar-MA" sz="2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هي المعلومة الأولى التي تقدمها المسألة؟</a:t>
            </a:r>
            <a:endParaRPr lang="ar-MA" sz="28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71833D09-9970-6A72-5000-754A0E978B31}"/>
              </a:ext>
            </a:extLst>
          </p:cNvPr>
          <p:cNvSpPr/>
          <p:nvPr/>
        </p:nvSpPr>
        <p:spPr>
          <a:xfrm>
            <a:off x="395536" y="1563122"/>
            <a:ext cx="8208880" cy="323402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في متجر للوازم الرياضية</a:t>
            </a:r>
            <a:r>
              <a:rPr lang="ar-MA" sz="2800" b="1">
                <a:latin typeface="+mj-lt"/>
              </a:rPr>
              <a:t>، </a:t>
            </a:r>
            <a:r>
              <a:rPr lang="ar-MA" sz="2800" b="1"/>
              <a:t>اِ</a:t>
            </a:r>
            <a:r>
              <a:rPr lang="ar-MA" sz="2800" b="1">
                <a:latin typeface="+mj-lt"/>
              </a:rPr>
              <a:t>شترى </a:t>
            </a:r>
            <a:r>
              <a:rPr lang="ar-MA" sz="2800" b="1" dirty="0">
                <a:latin typeface="+mj-lt"/>
              </a:rPr>
              <a:t>أحمد  بذلة رياضية بثمن 219درهما وحذاءً رياضياً بثمن 199درهماً ثم كرة بثمن 130درهما. ما المبلغ الذي أداه أحمد للبائع؟</a:t>
            </a:r>
            <a:endParaRPr lang="fr-FR" sz="2800" b="1" dirty="0">
              <a:latin typeface="+mj-lt"/>
            </a:endParaRPr>
          </a:p>
          <a:p>
            <a:pPr algn="ctr"/>
            <a:endParaRPr lang="fr-FR" sz="2800" dirty="0"/>
          </a:p>
        </p:txBody>
      </p:sp>
      <p:grpSp>
        <p:nvGrpSpPr>
          <p:cNvPr id="4" name="Groupe 13">
            <a:extLst>
              <a:ext uri="{FF2B5EF4-FFF2-40B4-BE49-F238E27FC236}">
                <a16:creationId xmlns:a16="http://schemas.microsoft.com/office/drawing/2014/main" id="{F301406D-1899-A183-D4A5-ACC1EA7FD907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1" name="Rectangle : coins arrondis 14">
              <a:extLst>
                <a:ext uri="{FF2B5EF4-FFF2-40B4-BE49-F238E27FC236}">
                  <a16:creationId xmlns:a16="http://schemas.microsoft.com/office/drawing/2014/main" id="{D046C9AD-60F6-7982-522C-EB80FACCEEBE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2" name="Rectangle : coins arrondis 15">
              <a:extLst>
                <a:ext uri="{FF2B5EF4-FFF2-40B4-BE49-F238E27FC236}">
                  <a16:creationId xmlns:a16="http://schemas.microsoft.com/office/drawing/2014/main" id="{B8239ACB-AB99-AD78-18D5-674B54A0D1D3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3" name="Rectangle : coins arrondis 16">
              <a:extLst>
                <a:ext uri="{FF2B5EF4-FFF2-40B4-BE49-F238E27FC236}">
                  <a16:creationId xmlns:a16="http://schemas.microsoft.com/office/drawing/2014/main" id="{BEE68D90-B6CE-2A02-04A2-46A7715A12B6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4" name="Rectangle : coins arrondis 17">
              <a:extLst>
                <a:ext uri="{FF2B5EF4-FFF2-40B4-BE49-F238E27FC236}">
                  <a16:creationId xmlns:a16="http://schemas.microsoft.com/office/drawing/2014/main" id="{B08D04FC-CC3E-142F-347A-FA672678D01A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5" name="Rectangle : coins arrondis 18">
              <a:extLst>
                <a:ext uri="{FF2B5EF4-FFF2-40B4-BE49-F238E27FC236}">
                  <a16:creationId xmlns:a16="http://schemas.microsoft.com/office/drawing/2014/main" id="{809DA976-C840-F809-B710-7C722B915FD0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17529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A0DDC-C4F7-935F-9CF6-7FED281BA4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B286DD2-F871-5C71-9CFC-46BE2CBD63A5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B8FABF5E-7B84-C9FA-A638-631A449DD6B8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9B5782AA-4FBE-89B0-B6C8-E7BCDFEDF888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3C7787DF-F58C-5085-8977-7D468C8D61A7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06AB9B5B-4856-FCE0-E1DD-0CEBA2AAE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75DE3FD1-54A9-7319-CED9-5181BC625057}"/>
              </a:ext>
            </a:extLst>
          </p:cNvPr>
          <p:cNvSpPr txBox="1"/>
          <p:nvPr/>
        </p:nvSpPr>
        <p:spPr>
          <a:xfrm>
            <a:off x="1124483" y="552186"/>
            <a:ext cx="7047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علومة الأولى التي تقدمها المسألة : ثمن البذلة الرياضية وهو 219 درهما</a:t>
            </a:r>
          </a:p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هي المعلومة الثانية التي تقدمها المسألة؟ 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EA0A8A5E-0DB8-9F3F-C613-DBCB587F5546}"/>
              </a:ext>
            </a:extLst>
          </p:cNvPr>
          <p:cNvSpPr/>
          <p:nvPr/>
        </p:nvSpPr>
        <p:spPr>
          <a:xfrm>
            <a:off x="395536" y="1563122"/>
            <a:ext cx="8280920" cy="323402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في متجر للوازم الرياضية، اشترى أحمد </a:t>
            </a:r>
            <a:r>
              <a:rPr lang="ar-MA" sz="2800" b="1" dirty="0">
                <a:highlight>
                  <a:srgbClr val="00FF00"/>
                </a:highlight>
                <a:latin typeface="+mj-lt"/>
              </a:rPr>
              <a:t>بذلة رياضية بثمن </a:t>
            </a:r>
            <a:r>
              <a:rPr lang="ar-MA" sz="2800" b="1" dirty="0">
                <a:highlight>
                  <a:srgbClr val="FF0000"/>
                </a:highlight>
                <a:latin typeface="+mj-lt"/>
              </a:rPr>
              <a:t>219درهما </a:t>
            </a:r>
            <a:r>
              <a:rPr lang="ar-MA" sz="2800" b="1" dirty="0">
                <a:latin typeface="+mj-lt"/>
              </a:rPr>
              <a:t>وحذاء رياضيا بثمن 199 درهما ثم كرة بثمن 130 درهما. ما المبلغ الذي أداه أحمد للبائع؟</a:t>
            </a:r>
            <a:endParaRPr lang="fr-FR" sz="2800" b="1" dirty="0">
              <a:latin typeface="+mj-lt"/>
            </a:endParaRPr>
          </a:p>
          <a:p>
            <a:pPr algn="ctr"/>
            <a:endParaRPr lang="fr-FR" sz="3200" dirty="0"/>
          </a:p>
        </p:txBody>
      </p:sp>
      <p:grpSp>
        <p:nvGrpSpPr>
          <p:cNvPr id="2" name="Groupe 13">
            <a:extLst>
              <a:ext uri="{FF2B5EF4-FFF2-40B4-BE49-F238E27FC236}">
                <a16:creationId xmlns:a16="http://schemas.microsoft.com/office/drawing/2014/main" id="{5E969703-1EF4-4D83-DFE8-95E544E969F6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1" name="Rectangle : coins arrondis 14">
              <a:extLst>
                <a:ext uri="{FF2B5EF4-FFF2-40B4-BE49-F238E27FC236}">
                  <a16:creationId xmlns:a16="http://schemas.microsoft.com/office/drawing/2014/main" id="{141D8874-92B0-1BEC-658E-AD3CBFF24CAE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2" name="Rectangle : coins arrondis 15">
              <a:extLst>
                <a:ext uri="{FF2B5EF4-FFF2-40B4-BE49-F238E27FC236}">
                  <a16:creationId xmlns:a16="http://schemas.microsoft.com/office/drawing/2014/main" id="{A3D84722-1F63-9B83-AE51-4038643A420B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3" name="Rectangle : coins arrondis 16">
              <a:extLst>
                <a:ext uri="{FF2B5EF4-FFF2-40B4-BE49-F238E27FC236}">
                  <a16:creationId xmlns:a16="http://schemas.microsoft.com/office/drawing/2014/main" id="{F7BE9AE8-10D4-E554-12FF-94728A3183A3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4" name="Rectangle : coins arrondis 17">
              <a:extLst>
                <a:ext uri="{FF2B5EF4-FFF2-40B4-BE49-F238E27FC236}">
                  <a16:creationId xmlns:a16="http://schemas.microsoft.com/office/drawing/2014/main" id="{89AA63CF-5D38-AE02-2DAB-BCCC29E55E59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5" name="Rectangle : coins arrondis 18">
              <a:extLst>
                <a:ext uri="{FF2B5EF4-FFF2-40B4-BE49-F238E27FC236}">
                  <a16:creationId xmlns:a16="http://schemas.microsoft.com/office/drawing/2014/main" id="{9142E3F6-D647-B037-2838-E306849D1BD3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856929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00C40-2B9F-9FDA-0EBC-9D128955B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0E0A998-289C-7DBD-6B54-A06F0576FB33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451FE8-B211-9935-AA7C-D80BEB9B1B4A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1FB054BD-FED9-374C-43F3-A72B16A6978E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2B7EC0C2-5F00-7F47-BB3B-C05A113B005F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EA2CA0E8-1B14-300C-120E-452DAA52BE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5A0421AA-EECA-2CFB-E180-763F2C1640AD}"/>
              </a:ext>
            </a:extLst>
          </p:cNvPr>
          <p:cNvSpPr txBox="1"/>
          <p:nvPr/>
        </p:nvSpPr>
        <p:spPr>
          <a:xfrm>
            <a:off x="1124483" y="552186"/>
            <a:ext cx="7047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علومة الثانية التي تقدمها المسألة : ثمن الحذاء وهو 199 درهما  </a:t>
            </a:r>
          </a:p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هي المعلومة الثالثة التي تقدمها المسألة؟ 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8E934E11-1EF3-CD8D-0DD3-238AFD9BD583}"/>
              </a:ext>
            </a:extLst>
          </p:cNvPr>
          <p:cNvSpPr/>
          <p:nvPr/>
        </p:nvSpPr>
        <p:spPr>
          <a:xfrm>
            <a:off x="395536" y="1563122"/>
            <a:ext cx="8280920" cy="323402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في متجر للوازم الرياضية، اشترى أحمد بذلة رياضية بثمن 219 درهما </a:t>
            </a:r>
            <a:r>
              <a:rPr lang="ar-MA" sz="2800" b="1" dirty="0">
                <a:highlight>
                  <a:srgbClr val="00FF00"/>
                </a:highlight>
                <a:latin typeface="+mj-lt"/>
              </a:rPr>
              <a:t>وحذاء رياضيا بثمن </a:t>
            </a:r>
            <a:r>
              <a:rPr lang="ar-MA" sz="2800" b="1" dirty="0">
                <a:highlight>
                  <a:srgbClr val="FF0000"/>
                </a:highlight>
                <a:latin typeface="+mj-lt"/>
              </a:rPr>
              <a:t>199 درهما </a:t>
            </a:r>
            <a:r>
              <a:rPr lang="ar-MA" sz="2800" b="1" dirty="0">
                <a:latin typeface="+mj-lt"/>
              </a:rPr>
              <a:t>ثم كرة بثمن 130 درهما. ما المبلغ الذي أداه أحمد للبائع؟</a:t>
            </a:r>
            <a:endParaRPr lang="fr-FR" sz="2800" b="1" dirty="0">
              <a:latin typeface="+mj-lt"/>
            </a:endParaRPr>
          </a:p>
          <a:p>
            <a:pPr algn="ctr"/>
            <a:endParaRPr lang="fr-FR" sz="3200" dirty="0"/>
          </a:p>
        </p:txBody>
      </p:sp>
      <p:grpSp>
        <p:nvGrpSpPr>
          <p:cNvPr id="2" name="Groupe 13">
            <a:extLst>
              <a:ext uri="{FF2B5EF4-FFF2-40B4-BE49-F238E27FC236}">
                <a16:creationId xmlns:a16="http://schemas.microsoft.com/office/drawing/2014/main" id="{C9200200-95B9-EC79-670E-EE2CD04D3723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E2B6AE4A-5918-8353-1402-B84D4D6B4ACA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5" name="Rectangle : coins arrondis 15">
              <a:extLst>
                <a:ext uri="{FF2B5EF4-FFF2-40B4-BE49-F238E27FC236}">
                  <a16:creationId xmlns:a16="http://schemas.microsoft.com/office/drawing/2014/main" id="{E3CE1A2E-2814-B3EA-D5EA-7EF4AF902448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6" name="Rectangle : coins arrondis 16">
              <a:extLst>
                <a:ext uri="{FF2B5EF4-FFF2-40B4-BE49-F238E27FC236}">
                  <a16:creationId xmlns:a16="http://schemas.microsoft.com/office/drawing/2014/main" id="{84B293C6-078F-2C75-9C32-B23D3A28007E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7" name="Rectangle : coins arrondis 17">
              <a:extLst>
                <a:ext uri="{FF2B5EF4-FFF2-40B4-BE49-F238E27FC236}">
                  <a16:creationId xmlns:a16="http://schemas.microsoft.com/office/drawing/2014/main" id="{D043F5F9-BC72-7682-B8F0-F6B1A16EF25F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8" name="Rectangle : coins arrondis 18">
              <a:extLst>
                <a:ext uri="{FF2B5EF4-FFF2-40B4-BE49-F238E27FC236}">
                  <a16:creationId xmlns:a16="http://schemas.microsoft.com/office/drawing/2014/main" id="{339EA5B7-85ED-B4D6-1CA6-D6852D174405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42592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B0DDB9-4CEF-8CBA-9626-DA1A040760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7A2C46B-BF37-5F43-F6EC-3BB9155200BE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F2D08ACC-A743-324E-6C98-1772F0048168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1999D30B-2C79-31B4-4C20-E18A0E861EA2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88C6292F-45F8-405A-0AF5-3F2F0DB6EE1E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68A22766-787E-A802-46B8-ADC3C572A2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E16002B-01B5-A89E-A964-A23C68BABCD0}"/>
              </a:ext>
            </a:extLst>
          </p:cNvPr>
          <p:cNvSpPr txBox="1"/>
          <p:nvPr/>
        </p:nvSpPr>
        <p:spPr>
          <a:xfrm>
            <a:off x="1124483" y="552186"/>
            <a:ext cx="7047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علومة الثالثة التي تقدمها المسألة: ثمن الكرة وهو 130 درهما 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F0454888-089F-5622-8407-66BFDBA0342F}"/>
              </a:ext>
            </a:extLst>
          </p:cNvPr>
          <p:cNvSpPr/>
          <p:nvPr/>
        </p:nvSpPr>
        <p:spPr>
          <a:xfrm>
            <a:off x="395536" y="1563122"/>
            <a:ext cx="8280920" cy="323402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في متجر للوازم الرياضية، اشترى أحمد بذلة رياضية بثمن 219درهما</a:t>
            </a:r>
            <a:r>
              <a:rPr lang="ar-MA" sz="2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lang="ar-MA" sz="2800" b="1" dirty="0">
                <a:latin typeface="+mj-lt"/>
              </a:rPr>
              <a:t>وحذاء رياضيا بثمن 199درهما ثم </a:t>
            </a:r>
            <a:r>
              <a:rPr lang="ar-MA" sz="2800" b="1" dirty="0">
                <a:highlight>
                  <a:srgbClr val="00FF00"/>
                </a:highlight>
                <a:latin typeface="+mj-lt"/>
              </a:rPr>
              <a:t>كرة بثمن </a:t>
            </a:r>
            <a:r>
              <a:rPr lang="ar-MA" sz="2800" b="1" dirty="0">
                <a:highlight>
                  <a:srgbClr val="FF0000"/>
                </a:highlight>
                <a:latin typeface="+mj-lt"/>
              </a:rPr>
              <a:t>130درهما</a:t>
            </a:r>
            <a:r>
              <a:rPr lang="ar-MA" sz="2800" b="1" dirty="0">
                <a:latin typeface="+mj-lt"/>
              </a:rPr>
              <a:t>. ما المبلغ الذي أداه أحمد للبائع ؟</a:t>
            </a:r>
            <a:endParaRPr lang="fr-FR" sz="2800" b="1" dirty="0">
              <a:latin typeface="+mj-lt"/>
            </a:endParaRPr>
          </a:p>
          <a:p>
            <a:pPr algn="ctr"/>
            <a:endParaRPr lang="fr-FR" sz="3200" dirty="0"/>
          </a:p>
        </p:txBody>
      </p:sp>
      <p:grpSp>
        <p:nvGrpSpPr>
          <p:cNvPr id="2" name="Groupe 13">
            <a:extLst>
              <a:ext uri="{FF2B5EF4-FFF2-40B4-BE49-F238E27FC236}">
                <a16:creationId xmlns:a16="http://schemas.microsoft.com/office/drawing/2014/main" id="{34297E89-55D8-CAAC-B92A-9F8957885FF4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EE26DEA4-3BCA-BAFE-72DD-58CC81AFFA4F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5" name="Rectangle : coins arrondis 15">
              <a:extLst>
                <a:ext uri="{FF2B5EF4-FFF2-40B4-BE49-F238E27FC236}">
                  <a16:creationId xmlns:a16="http://schemas.microsoft.com/office/drawing/2014/main" id="{ED3BED35-F1A4-2407-C6B5-F2CAA279E89C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6" name="Rectangle : coins arrondis 16">
              <a:extLst>
                <a:ext uri="{FF2B5EF4-FFF2-40B4-BE49-F238E27FC236}">
                  <a16:creationId xmlns:a16="http://schemas.microsoft.com/office/drawing/2014/main" id="{B04BD816-43AC-197A-3435-D6216B8C2118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7" name="Rectangle : coins arrondis 17">
              <a:extLst>
                <a:ext uri="{FF2B5EF4-FFF2-40B4-BE49-F238E27FC236}">
                  <a16:creationId xmlns:a16="http://schemas.microsoft.com/office/drawing/2014/main" id="{9A9706DC-9B50-E620-54EF-010E5D51CEFF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8" name="Rectangle : coins arrondis 18">
              <a:extLst>
                <a:ext uri="{FF2B5EF4-FFF2-40B4-BE49-F238E27FC236}">
                  <a16:creationId xmlns:a16="http://schemas.microsoft.com/office/drawing/2014/main" id="{E9CEADEB-D6D2-7D8D-77C0-E503321A38DC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88128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22DD6F-4CB4-7A9C-5E39-2FAC7CEAA6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68FF947-B7FD-6990-4750-B44A9360475B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A53F2A05-C10E-AD1B-A50C-668F449FD48C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A0009874-2255-87C2-446A-FD425678BDB1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985EF1AE-899F-A1DB-4368-1CC4BD48207D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946B4113-3929-B3BD-38D3-DB3FA2FB5D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7BBB88B2-5A5F-9FF3-4D6B-CD8449C9EE55}"/>
              </a:ext>
            </a:extLst>
          </p:cNvPr>
          <p:cNvSpPr txBox="1"/>
          <p:nvPr/>
        </p:nvSpPr>
        <p:spPr>
          <a:xfrm>
            <a:off x="1124483" y="552186"/>
            <a:ext cx="704791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ن يذكرني بالسؤال الثاني لحل المسائل؟</a:t>
            </a:r>
          </a:p>
          <a:p>
            <a:pPr algn="r" rtl="1"/>
            <a:r>
              <a:rPr lang="ar-MA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 ما هو المطلوب منا؟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3429B51E-F40D-3D69-C5C3-AB64D3BF4FBF}"/>
              </a:ext>
            </a:extLst>
          </p:cNvPr>
          <p:cNvSpPr/>
          <p:nvPr/>
        </p:nvSpPr>
        <p:spPr>
          <a:xfrm>
            <a:off x="395536" y="1563122"/>
            <a:ext cx="8280920" cy="272997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في متجر للوازم الرياضية، اِشترى أحمد بذلة رياضية بثمن 219درهما</a:t>
            </a:r>
            <a:r>
              <a:rPr lang="ar-MA" sz="2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lang="ar-MA" sz="2800" b="1" dirty="0">
                <a:latin typeface="+mj-lt"/>
              </a:rPr>
              <a:t>وحذاء رياضيا بثمن 199درهما ثم كرة بثمن 130درهما. ما المبلغ الذي أداه أحمد للبائع ؟</a:t>
            </a:r>
            <a:endParaRPr lang="fr-FR" sz="2800" b="1" dirty="0">
              <a:latin typeface="+mj-lt"/>
            </a:endParaRPr>
          </a:p>
        </p:txBody>
      </p:sp>
      <p:grpSp>
        <p:nvGrpSpPr>
          <p:cNvPr id="4" name="Groupe 13">
            <a:extLst>
              <a:ext uri="{FF2B5EF4-FFF2-40B4-BE49-F238E27FC236}">
                <a16:creationId xmlns:a16="http://schemas.microsoft.com/office/drawing/2014/main" id="{9382289F-F834-B3F7-C2DA-244B4D4F6839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1" name="Rectangle : coins arrondis 14">
              <a:extLst>
                <a:ext uri="{FF2B5EF4-FFF2-40B4-BE49-F238E27FC236}">
                  <a16:creationId xmlns:a16="http://schemas.microsoft.com/office/drawing/2014/main" id="{847A7470-4481-7D21-10EB-88962890C8FA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2" name="Rectangle : coins arrondis 15">
              <a:extLst>
                <a:ext uri="{FF2B5EF4-FFF2-40B4-BE49-F238E27FC236}">
                  <a16:creationId xmlns:a16="http://schemas.microsoft.com/office/drawing/2014/main" id="{41BAC56C-E0D4-579A-2F5C-CD15EB8299BC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3" name="Rectangle : coins arrondis 16">
              <a:extLst>
                <a:ext uri="{FF2B5EF4-FFF2-40B4-BE49-F238E27FC236}">
                  <a16:creationId xmlns:a16="http://schemas.microsoft.com/office/drawing/2014/main" id="{F7601C9F-AD24-6625-3FED-B72130875B5D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4" name="Rectangle : coins arrondis 17">
              <a:extLst>
                <a:ext uri="{FF2B5EF4-FFF2-40B4-BE49-F238E27FC236}">
                  <a16:creationId xmlns:a16="http://schemas.microsoft.com/office/drawing/2014/main" id="{AC54B0E0-7184-0754-D45C-3C31ACFEEC1E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5" name="Rectangle : coins arrondis 18">
              <a:extLst>
                <a:ext uri="{FF2B5EF4-FFF2-40B4-BE49-F238E27FC236}">
                  <a16:creationId xmlns:a16="http://schemas.microsoft.com/office/drawing/2014/main" id="{E6222EF2-1F82-EF05-BBB9-87D108D2F87A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75696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3141B-02CD-A9A8-D5F7-CFF58690E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E29C9CF-772E-371F-D8FF-A55D932248FF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2E471D5B-C07D-108A-1915-E1ECFF72D85B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7BB6CBDB-ECC5-19B5-CF75-67212113CF7E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AD71064A-F71A-F374-B6E9-C15C36E21B2F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02750197-B744-A66A-3687-A1DE9884A7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AA4DD5E0-E38E-ACC0-3DB1-218661AAE1BB}"/>
              </a:ext>
            </a:extLst>
          </p:cNvPr>
          <p:cNvSpPr txBox="1"/>
          <p:nvPr/>
        </p:nvSpPr>
        <p:spPr>
          <a:xfrm>
            <a:off x="1124483" y="552186"/>
            <a:ext cx="7047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عم المطلوب منا هو حساب المبلغ الذي أداه أحمد بعد شراء كل تلك اللوازم الرياضية 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3208A2E5-C72C-D13E-91C4-57C3BAE105E0}"/>
              </a:ext>
            </a:extLst>
          </p:cNvPr>
          <p:cNvSpPr/>
          <p:nvPr/>
        </p:nvSpPr>
        <p:spPr>
          <a:xfrm>
            <a:off x="395536" y="1563122"/>
            <a:ext cx="8280920" cy="272997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في متجر للوازم الرياضية، اشترى أحمد بذلة رياضية بثمن 219درهما</a:t>
            </a:r>
            <a:r>
              <a:rPr lang="ar-MA" sz="2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lang="ar-MA" sz="2800" b="1" dirty="0">
                <a:latin typeface="+mj-lt"/>
              </a:rPr>
              <a:t>وحذاء رياضيا بثمن 199درهما ثم كرة بثمن 130درهما. ما المبلغ الذي أداه أحمد للبائع؟</a:t>
            </a:r>
            <a:endParaRPr lang="fr-FR" sz="2800" b="1" dirty="0">
              <a:latin typeface="+mj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FEE7EC8-4372-A86B-295A-A3D6A7940249}"/>
              </a:ext>
            </a:extLst>
          </p:cNvPr>
          <p:cNvSpPr/>
          <p:nvPr/>
        </p:nvSpPr>
        <p:spPr>
          <a:xfrm>
            <a:off x="3347864" y="3356992"/>
            <a:ext cx="3744416" cy="5760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4" name="Groupe 13">
            <a:extLst>
              <a:ext uri="{FF2B5EF4-FFF2-40B4-BE49-F238E27FC236}">
                <a16:creationId xmlns:a16="http://schemas.microsoft.com/office/drawing/2014/main" id="{628B36F2-B3FB-BAE9-DEE2-45B78EFBD36D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2" name="Rectangle : coins arrondis 14">
              <a:extLst>
                <a:ext uri="{FF2B5EF4-FFF2-40B4-BE49-F238E27FC236}">
                  <a16:creationId xmlns:a16="http://schemas.microsoft.com/office/drawing/2014/main" id="{F3656360-4A20-B7F6-D99B-8EF1256D9AD7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3" name="Rectangle : coins arrondis 15">
              <a:extLst>
                <a:ext uri="{FF2B5EF4-FFF2-40B4-BE49-F238E27FC236}">
                  <a16:creationId xmlns:a16="http://schemas.microsoft.com/office/drawing/2014/main" id="{A3A01265-A39A-3FBA-93CF-39611E86BE01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4" name="Rectangle : coins arrondis 16">
              <a:extLst>
                <a:ext uri="{FF2B5EF4-FFF2-40B4-BE49-F238E27FC236}">
                  <a16:creationId xmlns:a16="http://schemas.microsoft.com/office/drawing/2014/main" id="{70F3D27E-9C75-9868-0EF6-31D5E053AAA8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5" name="Rectangle : coins arrondis 17">
              <a:extLst>
                <a:ext uri="{FF2B5EF4-FFF2-40B4-BE49-F238E27FC236}">
                  <a16:creationId xmlns:a16="http://schemas.microsoft.com/office/drawing/2014/main" id="{7F0EFC48-3635-274E-FC63-6CBEE6310273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0" name="Rectangle : coins arrondis 18">
              <a:extLst>
                <a:ext uri="{FF2B5EF4-FFF2-40B4-BE49-F238E27FC236}">
                  <a16:creationId xmlns:a16="http://schemas.microsoft.com/office/drawing/2014/main" id="{678324C3-2146-967F-20D4-A8DF3D48ECDC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43461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629486-EA7E-2029-529B-784FDC7BF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39119C1-4A17-55E0-4B12-FD4DC107DD97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89790352-4582-69A1-350F-ECDCAC4E03CD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18ED186E-6570-ADF6-FE40-F02755F397EB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350417C7-6EAF-CCEE-351B-E6203081EF58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65C14DAA-12A3-DD5A-FB47-720CC6B922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1F77F320-BCFC-5BB1-014A-5E2E6FBFF374}"/>
              </a:ext>
            </a:extLst>
          </p:cNvPr>
          <p:cNvSpPr txBox="1"/>
          <p:nvPr/>
        </p:nvSpPr>
        <p:spPr>
          <a:xfrm>
            <a:off x="1124483" y="552186"/>
            <a:ext cx="7047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بعد تحديد المعطيات التي تقدمها المسألة والمطلوب أقوم بتمثيلها على نموذج الأنشطة 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3AD37D2D-8E08-6428-D8B0-0C4E7786BEC4}"/>
              </a:ext>
            </a:extLst>
          </p:cNvPr>
          <p:cNvSpPr/>
          <p:nvPr/>
        </p:nvSpPr>
        <p:spPr>
          <a:xfrm>
            <a:off x="406500" y="1377978"/>
            <a:ext cx="8280920" cy="2382731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في متجر للوازم الرياضية، اشترى أحمد </a:t>
            </a:r>
            <a:r>
              <a:rPr lang="ar-MA" sz="2800" b="1" dirty="0">
                <a:solidFill>
                  <a:srgbClr val="C00000"/>
                </a:solidFill>
                <a:latin typeface="+mj-lt"/>
              </a:rPr>
              <a:t>بذلة رياضية بثمن 219درهما </a:t>
            </a:r>
            <a:r>
              <a:rPr lang="ar-MA" sz="2800" b="1" dirty="0">
                <a:solidFill>
                  <a:schemeClr val="tx2"/>
                </a:solidFill>
                <a:latin typeface="+mj-lt"/>
              </a:rPr>
              <a:t>وحذاء رياضيا بثمن 199درهما </a:t>
            </a:r>
            <a:r>
              <a:rPr lang="ar-MA" sz="2800" b="1" dirty="0">
                <a:latin typeface="+mj-lt"/>
              </a:rPr>
              <a:t>ثم </a:t>
            </a:r>
            <a:r>
              <a:rPr lang="ar-MA" sz="28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كرة بثمن 130درهما</a:t>
            </a:r>
            <a:r>
              <a:rPr lang="ar-MA" sz="2800" b="1" dirty="0">
                <a:latin typeface="+mj-lt"/>
              </a:rPr>
              <a:t>. ما المبلغ الذي أداه أحمد للبائع ؟</a:t>
            </a:r>
            <a:endParaRPr lang="fr-FR" sz="2800" b="1" dirty="0">
              <a:latin typeface="+mj-lt"/>
            </a:endParaRP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7B4E71FB-F6B4-D6A6-6ED7-B51B1F70C4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70519"/>
              </p:ext>
            </p:extLst>
          </p:nvPr>
        </p:nvGraphicFramePr>
        <p:xfrm>
          <a:off x="655365" y="4576981"/>
          <a:ext cx="7776865" cy="70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07066">
                  <a:extLst>
                    <a:ext uri="{9D8B030D-6E8A-4147-A177-3AD203B41FA5}">
                      <a16:colId xmlns:a16="http://schemas.microsoft.com/office/drawing/2014/main" val="3570065000"/>
                    </a:ext>
                  </a:extLst>
                </a:gridCol>
                <a:gridCol w="2572162">
                  <a:extLst>
                    <a:ext uri="{9D8B030D-6E8A-4147-A177-3AD203B41FA5}">
                      <a16:colId xmlns:a16="http://schemas.microsoft.com/office/drawing/2014/main" val="3145658122"/>
                    </a:ext>
                  </a:extLst>
                </a:gridCol>
                <a:gridCol w="1897637">
                  <a:extLst>
                    <a:ext uri="{9D8B030D-6E8A-4147-A177-3AD203B41FA5}">
                      <a16:colId xmlns:a16="http://schemas.microsoft.com/office/drawing/2014/main" val="2009554744"/>
                    </a:ext>
                  </a:extLst>
                </a:gridCol>
              </a:tblGrid>
              <a:tr h="667199">
                <a:tc>
                  <a:txBody>
                    <a:bodyPr/>
                    <a:lstStyle/>
                    <a:p>
                      <a:pPr algn="ctr"/>
                      <a:r>
                        <a:rPr lang="ar-MA" sz="4000" dirty="0"/>
                        <a:t>219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ar-MA" sz="4000" dirty="0"/>
                        <a:t>199</a:t>
                      </a:r>
                      <a:endParaRPr lang="fr-FR" sz="40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ar-MA" sz="4000" dirty="0"/>
                        <a:t>130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949252"/>
                  </a:ext>
                </a:extLst>
              </a:tr>
            </a:tbl>
          </a:graphicData>
        </a:graphic>
      </p:graphicFrame>
      <p:sp>
        <p:nvSpPr>
          <p:cNvPr id="23" name="ZoneTexte 22">
            <a:extLst>
              <a:ext uri="{FF2B5EF4-FFF2-40B4-BE49-F238E27FC236}">
                <a16:creationId xmlns:a16="http://schemas.microsoft.com/office/drawing/2014/main" id="{1FF8A39A-00ED-8D5D-B230-30C256FA6D47}"/>
              </a:ext>
            </a:extLst>
          </p:cNvPr>
          <p:cNvSpPr txBox="1"/>
          <p:nvPr/>
        </p:nvSpPr>
        <p:spPr>
          <a:xfrm>
            <a:off x="655365" y="4166420"/>
            <a:ext cx="82809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2000" b="1" dirty="0">
                <a:solidFill>
                  <a:schemeClr val="accent6">
                    <a:lumMod val="75000"/>
                  </a:schemeClr>
                </a:solidFill>
              </a:rPr>
              <a:t>ثمن الكرة بالدرهم              </a:t>
            </a:r>
            <a:r>
              <a:rPr lang="ar-MA" sz="2000" b="1" dirty="0">
                <a:solidFill>
                  <a:schemeClr val="tx2"/>
                </a:solidFill>
              </a:rPr>
              <a:t>ثمن الحذاء بالدرهم                  </a:t>
            </a:r>
            <a:r>
              <a:rPr lang="ar-MA" sz="2000" b="1" dirty="0">
                <a:solidFill>
                  <a:srgbClr val="C00000"/>
                </a:solidFill>
              </a:rPr>
              <a:t>ثمن البذلة بالدرهم</a:t>
            </a:r>
            <a:endParaRPr lang="ar-MA" sz="20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Accolade fermante 9">
            <a:extLst>
              <a:ext uri="{FF2B5EF4-FFF2-40B4-BE49-F238E27FC236}">
                <a16:creationId xmlns:a16="http://schemas.microsoft.com/office/drawing/2014/main" id="{CC54ACEC-908A-FFB3-B0FF-2734F3C1BE0A}"/>
              </a:ext>
            </a:extLst>
          </p:cNvPr>
          <p:cNvSpPr/>
          <p:nvPr/>
        </p:nvSpPr>
        <p:spPr>
          <a:xfrm rot="5400000">
            <a:off x="4256544" y="1583288"/>
            <a:ext cx="545571" cy="7844407"/>
          </a:xfrm>
          <a:prstGeom prst="rightBrace">
            <a:avLst/>
          </a:prstGeom>
          <a:ln w="76200">
            <a:solidFill>
              <a:srgbClr val="FF0000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7F106C16-D7A6-13B6-7C8A-986F6C7D0848}"/>
              </a:ext>
            </a:extLst>
          </p:cNvPr>
          <p:cNvSpPr/>
          <p:nvPr/>
        </p:nvSpPr>
        <p:spPr>
          <a:xfrm>
            <a:off x="2012623" y="5553378"/>
            <a:ext cx="4536504" cy="914400"/>
          </a:xfrm>
          <a:prstGeom prst="roundRect">
            <a:avLst/>
          </a:prstGeom>
          <a:noFill/>
          <a:ln w="571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ar-MA" sz="2800" b="1" dirty="0">
                <a:solidFill>
                  <a:srgbClr val="FF0000"/>
                </a:solidFill>
              </a:rPr>
              <a:t>المبلغ الذي أداه أحمد للبائع</a:t>
            </a:r>
            <a:endParaRPr lang="fr-FR" sz="2800" b="1" dirty="0">
              <a:solidFill>
                <a:srgbClr val="FF0000"/>
              </a:solidFill>
            </a:endParaRPr>
          </a:p>
        </p:txBody>
      </p:sp>
      <p:grpSp>
        <p:nvGrpSpPr>
          <p:cNvPr id="16" name="Groupe 13">
            <a:extLst>
              <a:ext uri="{FF2B5EF4-FFF2-40B4-BE49-F238E27FC236}">
                <a16:creationId xmlns:a16="http://schemas.microsoft.com/office/drawing/2014/main" id="{4F709B2B-17C1-BB44-26B7-8FCBED24794D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7" name="Rectangle : coins arrondis 14">
              <a:extLst>
                <a:ext uri="{FF2B5EF4-FFF2-40B4-BE49-F238E27FC236}">
                  <a16:creationId xmlns:a16="http://schemas.microsoft.com/office/drawing/2014/main" id="{A6BB0DEF-4005-9BA1-D043-1DD3CEBDBF5A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8" name="Rectangle : coins arrondis 15">
              <a:extLst>
                <a:ext uri="{FF2B5EF4-FFF2-40B4-BE49-F238E27FC236}">
                  <a16:creationId xmlns:a16="http://schemas.microsoft.com/office/drawing/2014/main" id="{404B1B7B-A396-3E24-6E93-7566BC7B8D1A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9" name="Rectangle : coins arrondis 16">
              <a:extLst>
                <a:ext uri="{FF2B5EF4-FFF2-40B4-BE49-F238E27FC236}">
                  <a16:creationId xmlns:a16="http://schemas.microsoft.com/office/drawing/2014/main" id="{89072B16-72A1-7A32-7D78-0EA551B5CD6C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0" name="Rectangle : coins arrondis 17">
              <a:extLst>
                <a:ext uri="{FF2B5EF4-FFF2-40B4-BE49-F238E27FC236}">
                  <a16:creationId xmlns:a16="http://schemas.microsoft.com/office/drawing/2014/main" id="{3DDA7DB9-A04D-6B26-1E41-EDE6A701464E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4" name="Rectangle : coins arrondis 18">
              <a:extLst>
                <a:ext uri="{FF2B5EF4-FFF2-40B4-BE49-F238E27FC236}">
                  <a16:creationId xmlns:a16="http://schemas.microsoft.com/office/drawing/2014/main" id="{D1CD471C-DE23-0DEB-8E95-6B359BE4A16A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01627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039D7-A3C5-C836-D37B-6D8EDD201E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3CB84C8-ABC1-9E9C-822E-633FD3E21D42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AA4D3B9-6989-DBC0-01D7-4FDD0A28331F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7376FF95-E04B-8FD6-DF1A-1304E31ECF8B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53F50369-D18D-8764-D716-758ABD56A0A3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FF921DA0-1A3F-C8E7-4229-7E60FAA0B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D3418A3-38F3-C2DB-6BBB-E116F92222F6}"/>
              </a:ext>
            </a:extLst>
          </p:cNvPr>
          <p:cNvSpPr txBox="1"/>
          <p:nvPr/>
        </p:nvSpPr>
        <p:spPr>
          <a:xfrm>
            <a:off x="1124483" y="552186"/>
            <a:ext cx="7047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ن يذكرنا بالسؤال الثالث لحل المسألة؟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818CEBB-1916-5042-F2C2-1C3762EDC667}"/>
              </a:ext>
            </a:extLst>
          </p:cNvPr>
          <p:cNvSpPr/>
          <p:nvPr/>
        </p:nvSpPr>
        <p:spPr>
          <a:xfrm>
            <a:off x="2195736" y="1772816"/>
            <a:ext cx="5400600" cy="194421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الأسئلة الأربعة لحل المسائل:</a:t>
            </a:r>
          </a:p>
          <a:p>
            <a:pPr marL="514350" indent="-514350" algn="just" rtl="1">
              <a:lnSpc>
                <a:spcPct val="150000"/>
              </a:lnSpc>
              <a:buFont typeface="+mj-lt"/>
              <a:buAutoNum type="arabicPeriod"/>
            </a:pPr>
            <a:r>
              <a:rPr lang="ar-MA" sz="2400" b="1" dirty="0">
                <a:latin typeface="+mj-lt"/>
              </a:rPr>
              <a:t>ما المعطيات التي تقدمها المسألة؟</a:t>
            </a:r>
          </a:p>
          <a:p>
            <a:pPr marL="514350" indent="-514350" algn="just" rtl="1">
              <a:lnSpc>
                <a:spcPct val="150000"/>
              </a:lnSpc>
              <a:buFont typeface="+mj-lt"/>
              <a:buAutoNum type="arabicPeriod"/>
            </a:pPr>
            <a:r>
              <a:rPr lang="ar-MA" sz="2400" b="1" dirty="0">
                <a:latin typeface="+mj-lt"/>
              </a:rPr>
              <a:t>ما المطلوب؟</a:t>
            </a:r>
            <a:endParaRPr lang="fr-FR" sz="2400" b="1" dirty="0">
              <a:latin typeface="+mj-lt"/>
            </a:endParaRPr>
          </a:p>
        </p:txBody>
      </p:sp>
      <p:grpSp>
        <p:nvGrpSpPr>
          <p:cNvPr id="4" name="Groupe 13">
            <a:extLst>
              <a:ext uri="{FF2B5EF4-FFF2-40B4-BE49-F238E27FC236}">
                <a16:creationId xmlns:a16="http://schemas.microsoft.com/office/drawing/2014/main" id="{6EC4B2F7-3264-27F8-1847-260D887AE3DD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2" name="Rectangle : coins arrondis 14">
              <a:extLst>
                <a:ext uri="{FF2B5EF4-FFF2-40B4-BE49-F238E27FC236}">
                  <a16:creationId xmlns:a16="http://schemas.microsoft.com/office/drawing/2014/main" id="{9F0CFB59-7E02-F293-DF7F-34FB947F78F2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3" name="Rectangle : coins arrondis 15">
              <a:extLst>
                <a:ext uri="{FF2B5EF4-FFF2-40B4-BE49-F238E27FC236}">
                  <a16:creationId xmlns:a16="http://schemas.microsoft.com/office/drawing/2014/main" id="{65176056-773C-3CDD-0992-B6533F193DAB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4" name="Rectangle : coins arrondis 16">
              <a:extLst>
                <a:ext uri="{FF2B5EF4-FFF2-40B4-BE49-F238E27FC236}">
                  <a16:creationId xmlns:a16="http://schemas.microsoft.com/office/drawing/2014/main" id="{67F911C4-FE9B-71BC-8286-1AC34345CF1B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5" name="Rectangle : coins arrondis 17">
              <a:extLst>
                <a:ext uri="{FF2B5EF4-FFF2-40B4-BE49-F238E27FC236}">
                  <a16:creationId xmlns:a16="http://schemas.microsoft.com/office/drawing/2014/main" id="{4934A98A-BFA3-1F66-38C3-D232BCB205E8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0" name="Rectangle : coins arrondis 18">
              <a:extLst>
                <a:ext uri="{FF2B5EF4-FFF2-40B4-BE49-F238E27FC236}">
                  <a16:creationId xmlns:a16="http://schemas.microsoft.com/office/drawing/2014/main" id="{060F76FF-33C4-3425-D9AC-50EC5BDB7CBF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67076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6C9CF1-E6FD-36D7-8370-77DEF0B10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9BD22-5D09-9404-D974-FE218566FB01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A30AA67B-6E14-D3C1-FA47-7386A30BDEA9}"/>
              </a:ext>
            </a:extLst>
          </p:cNvPr>
          <p:cNvGrpSpPr/>
          <p:nvPr/>
        </p:nvGrpSpPr>
        <p:grpSpPr>
          <a:xfrm>
            <a:off x="287477" y="383937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A26C5601-EAF4-85E3-B1FF-74B048CAB0BA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79613C34-A001-7B31-29A7-7AD7209462A6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770FBFF0-F9A2-A112-AE8D-5E24615C0F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CB21B5C2-426F-51D6-0566-5F3AC0553099}"/>
              </a:ext>
            </a:extLst>
          </p:cNvPr>
          <p:cNvSpPr txBox="1"/>
          <p:nvPr/>
        </p:nvSpPr>
        <p:spPr>
          <a:xfrm>
            <a:off x="1124483" y="404664"/>
            <a:ext cx="70479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2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صحيح السؤال الثالث هو: ما العمل؟</a:t>
            </a:r>
          </a:p>
          <a:p>
            <a:pPr algn="r" rtl="1"/>
            <a:r>
              <a:rPr lang="ar-MA" sz="2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لإجابة على هذا السؤال لابد من تحديد هل نبحث عن الكل أو الجزء؟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EBCD9114-9D63-9897-7A81-1EEEB1E86FD7}"/>
              </a:ext>
            </a:extLst>
          </p:cNvPr>
          <p:cNvSpPr/>
          <p:nvPr/>
        </p:nvSpPr>
        <p:spPr>
          <a:xfrm>
            <a:off x="2040778" y="1844824"/>
            <a:ext cx="5400600" cy="26642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>
              <a:lnSpc>
                <a:spcPct val="150000"/>
              </a:lnSpc>
            </a:pPr>
            <a:r>
              <a:rPr lang="ar-MA" sz="2800" b="1" dirty="0">
                <a:latin typeface="+mj-lt"/>
              </a:rPr>
              <a:t>الأسئلة الأربعة لحل المسائل:</a:t>
            </a:r>
          </a:p>
          <a:p>
            <a:pPr marL="514350" indent="-514350" algn="just" rtl="1">
              <a:lnSpc>
                <a:spcPct val="150000"/>
              </a:lnSpc>
              <a:buFont typeface="+mj-lt"/>
              <a:buAutoNum type="arabicPeriod"/>
            </a:pPr>
            <a:r>
              <a:rPr lang="ar-MA" sz="2400" b="1" dirty="0">
                <a:latin typeface="+mj-lt"/>
              </a:rPr>
              <a:t>ما المعطيات التي تقدمها المسألة؟</a:t>
            </a:r>
          </a:p>
          <a:p>
            <a:pPr marL="514350" indent="-514350" algn="just" rtl="1">
              <a:lnSpc>
                <a:spcPct val="150000"/>
              </a:lnSpc>
              <a:buFont typeface="+mj-lt"/>
              <a:buAutoNum type="arabicPeriod"/>
            </a:pPr>
            <a:r>
              <a:rPr lang="ar-MA" sz="2400" b="1" dirty="0">
                <a:latin typeface="+mj-lt"/>
              </a:rPr>
              <a:t>ما المطلوب؟</a:t>
            </a:r>
          </a:p>
          <a:p>
            <a:pPr marL="514350" indent="-514350" algn="just" rtl="1">
              <a:lnSpc>
                <a:spcPct val="150000"/>
              </a:lnSpc>
              <a:buFont typeface="+mj-lt"/>
              <a:buAutoNum type="arabicPeriod"/>
            </a:pPr>
            <a:r>
              <a:rPr lang="ar-MA" sz="2400" b="1" dirty="0">
                <a:latin typeface="+mj-lt"/>
              </a:rPr>
              <a:t>ما العمل؟</a:t>
            </a:r>
            <a:endParaRPr lang="fr-FR" sz="2400" b="1" dirty="0">
              <a:latin typeface="+mj-lt"/>
            </a:endParaRPr>
          </a:p>
        </p:txBody>
      </p:sp>
      <p:grpSp>
        <p:nvGrpSpPr>
          <p:cNvPr id="4" name="Groupe 13">
            <a:extLst>
              <a:ext uri="{FF2B5EF4-FFF2-40B4-BE49-F238E27FC236}">
                <a16:creationId xmlns:a16="http://schemas.microsoft.com/office/drawing/2014/main" id="{74EFF970-8D83-E196-CAA0-FA8319559820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2" name="Rectangle : coins arrondis 14">
              <a:extLst>
                <a:ext uri="{FF2B5EF4-FFF2-40B4-BE49-F238E27FC236}">
                  <a16:creationId xmlns:a16="http://schemas.microsoft.com/office/drawing/2014/main" id="{F3424D4D-2B98-ADF2-BF50-9A899041D811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3" name="Rectangle : coins arrondis 15">
              <a:extLst>
                <a:ext uri="{FF2B5EF4-FFF2-40B4-BE49-F238E27FC236}">
                  <a16:creationId xmlns:a16="http://schemas.microsoft.com/office/drawing/2014/main" id="{95404916-42EE-7F79-45B5-1F4D8C16A412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4" name="Rectangle : coins arrondis 16">
              <a:extLst>
                <a:ext uri="{FF2B5EF4-FFF2-40B4-BE49-F238E27FC236}">
                  <a16:creationId xmlns:a16="http://schemas.microsoft.com/office/drawing/2014/main" id="{8C46E2B6-7AF5-CB82-258E-750A13E234C9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5" name="Rectangle : coins arrondis 17">
              <a:extLst>
                <a:ext uri="{FF2B5EF4-FFF2-40B4-BE49-F238E27FC236}">
                  <a16:creationId xmlns:a16="http://schemas.microsoft.com/office/drawing/2014/main" id="{C56E9414-6599-D812-F1F2-C5A97739AB2E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0" name="Rectangle : coins arrondis 18">
              <a:extLst>
                <a:ext uri="{FF2B5EF4-FFF2-40B4-BE49-F238E27FC236}">
                  <a16:creationId xmlns:a16="http://schemas.microsoft.com/office/drawing/2014/main" id="{4B3A1374-96F7-9D2F-A0BF-94C84CE7E6A6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387086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6C93D0-CC55-B162-53F2-E2551D929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ABB9816-2C75-52BA-2450-CA83C62DD8A4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462A41F-AC2D-40CB-2E75-57A64A388932}"/>
              </a:ext>
            </a:extLst>
          </p:cNvPr>
          <p:cNvGrpSpPr/>
          <p:nvPr/>
        </p:nvGrpSpPr>
        <p:grpSpPr>
          <a:xfrm>
            <a:off x="345132" y="404839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05DE2FC1-1D41-EFD2-5022-1FC03BAC21DC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7D432B3A-E841-E077-55A8-57C04EDC0037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840DD7CE-BFB0-8727-E71F-EDC055B2F0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1F486F8-2E44-3BF5-96CC-30EBED1A8E89}"/>
              </a:ext>
            </a:extLst>
          </p:cNvPr>
          <p:cNvSpPr txBox="1"/>
          <p:nvPr/>
        </p:nvSpPr>
        <p:spPr>
          <a:xfrm>
            <a:off x="1124483" y="404664"/>
            <a:ext cx="70479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بلغ الذي أداه أحمد للبائع هل يمثل الجزء أم الكل؟ </a:t>
            </a:r>
            <a:r>
              <a:rPr lang="ar-MA" sz="14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صحيح يمثل الكل </a:t>
            </a:r>
            <a:endParaRPr lang="ar-MA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باقي المشتريات هل تمثل الكل أم الأجزاء؟ </a:t>
            </a:r>
            <a:r>
              <a:rPr lang="ar-MA" sz="14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جيد تمثل الأجزاء </a:t>
            </a:r>
          </a:p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هل هي أجزاء متساوي أم مختلفة؟ </a:t>
            </a:r>
            <a:r>
              <a:rPr lang="ar-MA" sz="14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عم هي أجزاء غير متساوية</a:t>
            </a:r>
            <a:endParaRPr lang="ar-MA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Accolade fermante 9">
            <a:extLst>
              <a:ext uri="{FF2B5EF4-FFF2-40B4-BE49-F238E27FC236}">
                <a16:creationId xmlns:a16="http://schemas.microsoft.com/office/drawing/2014/main" id="{EF21A3A9-024B-46DE-8D80-87EA8E73D0C9}"/>
              </a:ext>
            </a:extLst>
          </p:cNvPr>
          <p:cNvSpPr/>
          <p:nvPr/>
        </p:nvSpPr>
        <p:spPr>
          <a:xfrm rot="5400000">
            <a:off x="4289657" y="-288180"/>
            <a:ext cx="545571" cy="7844407"/>
          </a:xfrm>
          <a:prstGeom prst="rightBrace">
            <a:avLst/>
          </a:prstGeom>
          <a:ln w="76200">
            <a:solidFill>
              <a:srgbClr val="FF0000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06F3E639-7AC4-A6AF-1834-2FCC4C30292D}"/>
              </a:ext>
            </a:extLst>
          </p:cNvPr>
          <p:cNvSpPr/>
          <p:nvPr/>
        </p:nvSpPr>
        <p:spPr>
          <a:xfrm>
            <a:off x="2216789" y="3739476"/>
            <a:ext cx="4536504" cy="914400"/>
          </a:xfrm>
          <a:prstGeom prst="roundRect">
            <a:avLst/>
          </a:prstGeom>
          <a:noFill/>
          <a:ln w="571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ar-MA" sz="3200" b="1" dirty="0">
                <a:solidFill>
                  <a:srgbClr val="FF0000"/>
                </a:solidFill>
              </a:rPr>
              <a:t>المبلغ الذي أداه أحمد للبائع؟</a:t>
            </a:r>
            <a:endParaRPr lang="fr-FR" sz="3200" b="1" dirty="0">
              <a:solidFill>
                <a:srgbClr val="FF0000"/>
              </a:solidFill>
            </a:endParaRPr>
          </a:p>
        </p:txBody>
      </p:sp>
      <p:graphicFrame>
        <p:nvGraphicFramePr>
          <p:cNvPr id="26" name="Tableau 25">
            <a:extLst>
              <a:ext uri="{FF2B5EF4-FFF2-40B4-BE49-F238E27FC236}">
                <a16:creationId xmlns:a16="http://schemas.microsoft.com/office/drawing/2014/main" id="{0624F702-C74B-1568-031D-3204F012BB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397091"/>
              </p:ext>
            </p:extLst>
          </p:nvPr>
        </p:nvGraphicFramePr>
        <p:xfrm>
          <a:off x="640240" y="2658038"/>
          <a:ext cx="7776865" cy="70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07066">
                  <a:extLst>
                    <a:ext uri="{9D8B030D-6E8A-4147-A177-3AD203B41FA5}">
                      <a16:colId xmlns:a16="http://schemas.microsoft.com/office/drawing/2014/main" val="3570065000"/>
                    </a:ext>
                  </a:extLst>
                </a:gridCol>
                <a:gridCol w="2572162">
                  <a:extLst>
                    <a:ext uri="{9D8B030D-6E8A-4147-A177-3AD203B41FA5}">
                      <a16:colId xmlns:a16="http://schemas.microsoft.com/office/drawing/2014/main" val="3145658122"/>
                    </a:ext>
                  </a:extLst>
                </a:gridCol>
                <a:gridCol w="1897637">
                  <a:extLst>
                    <a:ext uri="{9D8B030D-6E8A-4147-A177-3AD203B41FA5}">
                      <a16:colId xmlns:a16="http://schemas.microsoft.com/office/drawing/2014/main" val="2009554744"/>
                    </a:ext>
                  </a:extLst>
                </a:gridCol>
              </a:tblGrid>
              <a:tr h="494774">
                <a:tc>
                  <a:txBody>
                    <a:bodyPr/>
                    <a:lstStyle/>
                    <a:p>
                      <a:pPr algn="ctr"/>
                      <a:r>
                        <a:rPr lang="ar-MA" sz="4000" dirty="0"/>
                        <a:t>219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ar-MA" sz="4000" dirty="0"/>
                        <a:t>199</a:t>
                      </a:r>
                      <a:endParaRPr lang="fr-FR" sz="40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ar-MA" sz="4000" dirty="0"/>
                        <a:t>130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949252"/>
                  </a:ext>
                </a:extLst>
              </a:tr>
            </a:tbl>
          </a:graphicData>
        </a:graphic>
      </p:graphicFrame>
      <p:sp>
        <p:nvSpPr>
          <p:cNvPr id="27" name="ZoneTexte 26">
            <a:extLst>
              <a:ext uri="{FF2B5EF4-FFF2-40B4-BE49-F238E27FC236}">
                <a16:creationId xmlns:a16="http://schemas.microsoft.com/office/drawing/2014/main" id="{B603EB3B-234B-D5CD-17B3-F44C93551740}"/>
              </a:ext>
            </a:extLst>
          </p:cNvPr>
          <p:cNvSpPr txBox="1"/>
          <p:nvPr/>
        </p:nvSpPr>
        <p:spPr>
          <a:xfrm>
            <a:off x="596972" y="2291559"/>
            <a:ext cx="82809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2000" b="1" dirty="0">
                <a:solidFill>
                  <a:schemeClr val="accent6">
                    <a:lumMod val="75000"/>
                  </a:schemeClr>
                </a:solidFill>
              </a:rPr>
              <a:t>ثمن الكرة بالدرهم              </a:t>
            </a:r>
            <a:r>
              <a:rPr lang="ar-MA" sz="2000" b="1" dirty="0">
                <a:solidFill>
                  <a:schemeClr val="tx2"/>
                </a:solidFill>
              </a:rPr>
              <a:t>ثمن الحذاء بالدرهم                  </a:t>
            </a:r>
            <a:r>
              <a:rPr lang="ar-MA" sz="2000" b="1" dirty="0">
                <a:solidFill>
                  <a:srgbClr val="C00000"/>
                </a:solidFill>
              </a:rPr>
              <a:t>ثمن البذلة بالدرهم</a:t>
            </a:r>
            <a:endParaRPr lang="ar-MA" sz="20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" name="Groupe 13">
            <a:extLst>
              <a:ext uri="{FF2B5EF4-FFF2-40B4-BE49-F238E27FC236}">
                <a16:creationId xmlns:a16="http://schemas.microsoft.com/office/drawing/2014/main" id="{10D758F1-C568-8C1A-D973-77742625A499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4" name="Rectangle : coins arrondis 14">
              <a:extLst>
                <a:ext uri="{FF2B5EF4-FFF2-40B4-BE49-F238E27FC236}">
                  <a16:creationId xmlns:a16="http://schemas.microsoft.com/office/drawing/2014/main" id="{4A32B332-A9F6-863D-6F63-E2BEB8E06566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1" name="Rectangle : coins arrondis 15">
              <a:extLst>
                <a:ext uri="{FF2B5EF4-FFF2-40B4-BE49-F238E27FC236}">
                  <a16:creationId xmlns:a16="http://schemas.microsoft.com/office/drawing/2014/main" id="{C6D249F3-3AE1-54BE-36DA-F3DDE5D0A016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2" name="Rectangle : coins arrondis 16">
              <a:extLst>
                <a:ext uri="{FF2B5EF4-FFF2-40B4-BE49-F238E27FC236}">
                  <a16:creationId xmlns:a16="http://schemas.microsoft.com/office/drawing/2014/main" id="{12A845BE-979D-B42E-DA51-87E158102EB2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3" name="Rectangle : coins arrondis 17">
              <a:extLst>
                <a:ext uri="{FF2B5EF4-FFF2-40B4-BE49-F238E27FC236}">
                  <a16:creationId xmlns:a16="http://schemas.microsoft.com/office/drawing/2014/main" id="{EB01BB80-033B-284E-7E2B-8E6BD5EF584D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4" name="Rectangle : coins arrondis 18">
              <a:extLst>
                <a:ext uri="{FF2B5EF4-FFF2-40B4-BE49-F238E27FC236}">
                  <a16:creationId xmlns:a16="http://schemas.microsoft.com/office/drawing/2014/main" id="{9E42225E-814D-130E-F0EE-F76A5222BBEE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82777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8616CE26-0DA5-D986-849B-9EC635F5EE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16CE26-0DA5-D986-849B-9EC635F5E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just" defTabSz="457223">
              <a:defRPr/>
            </a:pPr>
            <a:endParaRPr lang="fr-MA" sz="90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254000" y="736600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>
                <a:defRPr/>
              </a:pPr>
              <a:endParaRPr lang="fr-MA" sz="90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  <a:defRPr/>
              </a:pPr>
              <a:endParaRPr sz="90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>
              <a:defRPr/>
            </a:pPr>
            <a:endParaRPr lang="fr-MA" sz="90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501EBCDE-36C0-A82B-4E0F-196E5747F43F}"/>
              </a:ext>
            </a:extLst>
          </p:cNvPr>
          <p:cNvSpPr txBox="1"/>
          <p:nvPr/>
        </p:nvSpPr>
        <p:spPr>
          <a:xfrm>
            <a:off x="863600" y="736600"/>
            <a:ext cx="7366000" cy="64190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5486"/>
              </a:lnSpc>
              <a:defRPr/>
            </a:pPr>
            <a:r>
              <a:rPr lang="ar-MA" sz="3334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توجيهات لاستعمال العرض </a:t>
            </a:r>
            <a:endParaRPr lang="fr-FR" sz="3334" b="1" kern="0" dirty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702DFF91-BE99-3E50-B4DB-921EC6655E73}"/>
              </a:ext>
            </a:extLst>
          </p:cNvPr>
          <p:cNvSpPr/>
          <p:nvPr/>
        </p:nvSpPr>
        <p:spPr>
          <a:xfrm>
            <a:off x="7408801" y="1340768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>
              <a:defRPr/>
            </a:pPr>
            <a:endParaRPr lang="fr-MA" sz="90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0C3F5564-E282-6432-2508-E84DBA80A27A}"/>
              </a:ext>
            </a:extLst>
          </p:cNvPr>
          <p:cNvSpPr/>
          <p:nvPr/>
        </p:nvSpPr>
        <p:spPr>
          <a:xfrm flipH="1">
            <a:off x="7480809" y="2250187"/>
            <a:ext cx="619583" cy="41863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22">
            <a:extLst>
              <a:ext uri="{FF2B5EF4-FFF2-40B4-BE49-F238E27FC236}">
                <a16:creationId xmlns:a16="http://schemas.microsoft.com/office/drawing/2014/main" id="{204D686E-0C64-CA2D-9563-F8C4D92032C5}"/>
              </a:ext>
            </a:extLst>
          </p:cNvPr>
          <p:cNvSpPr txBox="1"/>
          <p:nvPr/>
        </p:nvSpPr>
        <p:spPr>
          <a:xfrm>
            <a:off x="7181611" y="2924944"/>
            <a:ext cx="106279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09630" rtl="1">
              <a:defRPr/>
            </a:pPr>
            <a:r>
              <a:rPr lang="ar-MA" sz="1600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قرأ المدرس الأرقام بإنشاد</a:t>
            </a:r>
            <a:endParaRPr lang="fr-FR" sz="1600" i="1" dirty="0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B866FD7-8AE4-8373-D9A0-87B803080F41}"/>
              </a:ext>
            </a:extLst>
          </p:cNvPr>
          <p:cNvSpPr txBox="1"/>
          <p:nvPr/>
        </p:nvSpPr>
        <p:spPr>
          <a:xfrm>
            <a:off x="1630756" y="1626702"/>
            <a:ext cx="4572000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09630" rtl="1">
              <a:defRPr/>
            </a:pPr>
            <a:r>
              <a:rPr lang="ar-MA" sz="1867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شرائح خاصة بالأستاذ(ة)</a:t>
            </a:r>
            <a:endParaRPr lang="fr-FR" sz="1867" b="1" dirty="0">
              <a:solidFill>
                <a:srgbClr val="1F497D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BDFF28-A310-CC0C-A329-919FFF43DD0E}"/>
              </a:ext>
            </a:extLst>
          </p:cNvPr>
          <p:cNvSpPr txBox="1"/>
          <p:nvPr/>
        </p:nvSpPr>
        <p:spPr>
          <a:xfrm>
            <a:off x="626071" y="1988840"/>
            <a:ext cx="5598312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09630">
              <a:defRPr/>
            </a:pPr>
            <a:endParaRPr lang="en-GB" sz="1867" b="1" dirty="0">
              <a:solidFill>
                <a:srgbClr val="1F497D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 defTabSz="609630">
              <a:defRPr/>
            </a:pPr>
            <a:r>
              <a:rPr lang="ar-MA" sz="1867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إرشادات للشروحات والتعليمات التي يجب على الأستاذ(ة) قولها</a:t>
            </a:r>
            <a:endParaRPr lang="fr-FR" sz="1867" b="1" dirty="0">
              <a:solidFill>
                <a:srgbClr val="1F497D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2B8F69A-2AAE-FFAF-187A-48C5CEA57BA5}"/>
              </a:ext>
            </a:extLst>
          </p:cNvPr>
          <p:cNvSpPr txBox="1"/>
          <p:nvPr/>
        </p:nvSpPr>
        <p:spPr>
          <a:xfrm>
            <a:off x="1678527" y="3094953"/>
            <a:ext cx="4572000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09630">
              <a:defRPr/>
            </a:pPr>
            <a:r>
              <a:rPr lang="ar-AE" sz="1867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مثلة على التوجيهات </a:t>
            </a:r>
            <a:r>
              <a:rPr lang="ar-MA" sz="1867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لأستاذ(ة)</a:t>
            </a:r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8" name="Image 12">
            <a:extLst>
              <a:ext uri="{FF2B5EF4-FFF2-40B4-BE49-F238E27FC236}">
                <a16:creationId xmlns:a16="http://schemas.microsoft.com/office/drawing/2014/main" id="{BEA557F0-1978-74C8-2148-1CE354349F0B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335201" y="1536036"/>
            <a:ext cx="812326" cy="449702"/>
          </a:xfrm>
          <a:prstGeom prst="rect">
            <a:avLst/>
          </a:prstGeom>
        </p:spPr>
      </p:pic>
      <p:pic>
        <p:nvPicPr>
          <p:cNvPr id="41" name="Image 12">
            <a:extLst>
              <a:ext uri="{FF2B5EF4-FFF2-40B4-BE49-F238E27FC236}">
                <a16:creationId xmlns:a16="http://schemas.microsoft.com/office/drawing/2014/main" id="{6BFEE519-2C32-4159-0871-D20BE7302807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365874" y="2178169"/>
            <a:ext cx="812326" cy="449702"/>
          </a:xfrm>
          <a:prstGeom prst="rect">
            <a:avLst/>
          </a:prstGeom>
        </p:spPr>
      </p:pic>
      <p:pic>
        <p:nvPicPr>
          <p:cNvPr id="42" name="Image 12">
            <a:extLst>
              <a:ext uri="{FF2B5EF4-FFF2-40B4-BE49-F238E27FC236}">
                <a16:creationId xmlns:a16="http://schemas.microsoft.com/office/drawing/2014/main" id="{85B2C013-F479-B03F-1A13-C155A5507CE4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355714" y="2975114"/>
            <a:ext cx="812326" cy="449702"/>
          </a:xfrm>
          <a:prstGeom prst="rect">
            <a:avLst/>
          </a:prstGeom>
        </p:spPr>
      </p:pic>
      <p:sp>
        <p:nvSpPr>
          <p:cNvPr id="12" name="TextBox 36">
            <a:extLst>
              <a:ext uri="{FF2B5EF4-FFF2-40B4-BE49-F238E27FC236}">
                <a16:creationId xmlns:a16="http://schemas.microsoft.com/office/drawing/2014/main" id="{40B6DFCB-CC6C-6D08-EFD7-2B7C2EF7C904}"/>
              </a:ext>
            </a:extLst>
          </p:cNvPr>
          <p:cNvSpPr txBox="1"/>
          <p:nvPr/>
        </p:nvSpPr>
        <p:spPr>
          <a:xfrm>
            <a:off x="1763201" y="3985448"/>
            <a:ext cx="4572000" cy="379656"/>
          </a:xfrm>
          <a:prstGeom prst="rect">
            <a:avLst/>
          </a:prstGeom>
          <a:solidFill>
            <a:srgbClr val="106584"/>
          </a:solidFill>
        </p:spPr>
        <p:txBody>
          <a:bodyPr wrap="square">
            <a:spAutoFit/>
          </a:bodyPr>
          <a:lstStyle/>
          <a:p>
            <a:pPr algn="r" defTabSz="609630">
              <a:defRPr/>
            </a:pPr>
            <a:r>
              <a:rPr lang="ar-MA" sz="1867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مشتركة للمستوين الخامس والسادس </a:t>
            </a:r>
            <a:r>
              <a:rPr lang="ar-MA" sz="16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إطار أزرق)</a:t>
            </a:r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4" name="Image 12">
            <a:extLst>
              <a:ext uri="{FF2B5EF4-FFF2-40B4-BE49-F238E27FC236}">
                <a16:creationId xmlns:a16="http://schemas.microsoft.com/office/drawing/2014/main" id="{96F14271-F32D-9492-0F45-37DDCC969460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440388" y="3865609"/>
            <a:ext cx="812326" cy="449702"/>
          </a:xfrm>
          <a:prstGeom prst="rect">
            <a:avLst/>
          </a:prstGeom>
        </p:spPr>
      </p:pic>
      <p:sp>
        <p:nvSpPr>
          <p:cNvPr id="16" name="TextBox 36">
            <a:extLst>
              <a:ext uri="{FF2B5EF4-FFF2-40B4-BE49-F238E27FC236}">
                <a16:creationId xmlns:a16="http://schemas.microsoft.com/office/drawing/2014/main" id="{1AE411A3-8C4D-76A4-1DDF-7D7413BBDF0D}"/>
              </a:ext>
            </a:extLst>
          </p:cNvPr>
          <p:cNvSpPr txBox="1"/>
          <p:nvPr/>
        </p:nvSpPr>
        <p:spPr>
          <a:xfrm>
            <a:off x="1818791" y="4705528"/>
            <a:ext cx="4572000" cy="40011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>
            <a:spAutoFit/>
          </a:bodyPr>
          <a:lstStyle/>
          <a:p>
            <a:pPr algn="r" defTabSz="609630">
              <a:defRPr/>
            </a:pPr>
            <a:r>
              <a:rPr lang="ar-MA" sz="20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خاصة بالمستوى الخامس (إطار أخضر)</a:t>
            </a:r>
            <a:endParaRPr lang="en-US" sz="14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Image 12">
            <a:extLst>
              <a:ext uri="{FF2B5EF4-FFF2-40B4-BE49-F238E27FC236}">
                <a16:creationId xmlns:a16="http://schemas.microsoft.com/office/drawing/2014/main" id="{4B769B1B-77C8-2C47-6187-F749ABD7923D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495978" y="4585689"/>
            <a:ext cx="812326" cy="449702"/>
          </a:xfrm>
          <a:prstGeom prst="rect">
            <a:avLst/>
          </a:prstGeom>
        </p:spPr>
      </p:pic>
      <p:sp>
        <p:nvSpPr>
          <p:cNvPr id="18" name="TextBox 36">
            <a:extLst>
              <a:ext uri="{FF2B5EF4-FFF2-40B4-BE49-F238E27FC236}">
                <a16:creationId xmlns:a16="http://schemas.microsoft.com/office/drawing/2014/main" id="{00A14046-4F48-991D-1AB3-0387220C7280}"/>
              </a:ext>
            </a:extLst>
          </p:cNvPr>
          <p:cNvSpPr txBox="1"/>
          <p:nvPr/>
        </p:nvSpPr>
        <p:spPr>
          <a:xfrm>
            <a:off x="1868387" y="5569624"/>
            <a:ext cx="4572000" cy="379656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>
            <a:spAutoFit/>
          </a:bodyPr>
          <a:lstStyle/>
          <a:p>
            <a:pPr algn="r" defTabSz="609630">
              <a:defRPr/>
            </a:pPr>
            <a:r>
              <a:rPr lang="ar-MA" sz="1867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خاصة بالمستوى السادس (إطار بنفسجي)</a:t>
            </a:r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9" name="Image 12">
            <a:extLst>
              <a:ext uri="{FF2B5EF4-FFF2-40B4-BE49-F238E27FC236}">
                <a16:creationId xmlns:a16="http://schemas.microsoft.com/office/drawing/2014/main" id="{0C52989A-9EAE-AF2F-4793-43321E15FAD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545574" y="5449785"/>
            <a:ext cx="812326" cy="449702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20020A5F-FC69-141D-9A8B-0A848FBFFE4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35079" y="3573016"/>
            <a:ext cx="1225353" cy="782076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0FFF7B4F-3C04-2AEA-1C3D-4338002796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08304" y="5352838"/>
            <a:ext cx="1152128" cy="730446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09960FCD-B4AD-7EED-7572-FE80BC5D2BD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67708" y="4403498"/>
            <a:ext cx="1225353" cy="781551"/>
          </a:xfrm>
          <a:prstGeom prst="rect">
            <a:avLst/>
          </a:prstGeom>
        </p:spPr>
      </p:pic>
      <p:pic>
        <p:nvPicPr>
          <p:cNvPr id="11" name="Image 10" descr="Une image contenant Police, cercle, Graphique, logo&#10;&#10;Le contenu généré par l’IA peut être incorrect.">
            <a:extLst>
              <a:ext uri="{FF2B5EF4-FFF2-40B4-BE49-F238E27FC236}">
                <a16:creationId xmlns:a16="http://schemas.microsoft.com/office/drawing/2014/main" id="{99E67208-8AA0-1A4D-57F3-C846DFEA417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006" y="5514837"/>
            <a:ext cx="565041" cy="691717"/>
          </a:xfrm>
          <a:prstGeom prst="rect">
            <a:avLst/>
          </a:prstGeom>
        </p:spPr>
      </p:pic>
      <p:pic>
        <p:nvPicPr>
          <p:cNvPr id="20" name="Image 19" descr="Une image contenant Police, Graphique, logo, texte&#10;&#10;Le contenu généré par l’IA peut être incorrect.">
            <a:extLst>
              <a:ext uri="{FF2B5EF4-FFF2-40B4-BE49-F238E27FC236}">
                <a16:creationId xmlns:a16="http://schemas.microsoft.com/office/drawing/2014/main" id="{668DFE16-C8A8-B8D1-20E9-0FF4F1CD455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235" y="4655527"/>
            <a:ext cx="565041" cy="691717"/>
          </a:xfrm>
          <a:prstGeom prst="rect">
            <a:avLst/>
          </a:prstGeom>
        </p:spPr>
      </p:pic>
      <p:pic>
        <p:nvPicPr>
          <p:cNvPr id="24" name="Image 23" descr="Une image contenant Police, Graphique, logo, texte&#10;&#10;Le contenu généré par l’IA peut être incorrect.">
            <a:extLst>
              <a:ext uri="{FF2B5EF4-FFF2-40B4-BE49-F238E27FC236}">
                <a16:creationId xmlns:a16="http://schemas.microsoft.com/office/drawing/2014/main" id="{74EC19E0-9BEE-59B2-0094-27AE79BAD35D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079" y="3926723"/>
            <a:ext cx="671207" cy="652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8674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53DBAC-149C-A7AC-141B-A4C2E6AE5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B38B0AE-2610-07A6-D6A4-11D5BB821490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C528EA82-335F-1B6A-02E1-8E6C1E66544F}"/>
              </a:ext>
            </a:extLst>
          </p:cNvPr>
          <p:cNvGrpSpPr/>
          <p:nvPr/>
        </p:nvGrpSpPr>
        <p:grpSpPr>
          <a:xfrm>
            <a:off x="345132" y="404839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B302A482-3165-2CCC-70A7-A3CBEA9D9590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F43474C8-664E-D685-D865-9B57941D8987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6349BD67-562A-42A2-ADEB-11120AD211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B75CD832-F5E8-675F-3A65-5A4261F687BB}"/>
              </a:ext>
            </a:extLst>
          </p:cNvPr>
          <p:cNvSpPr txBox="1"/>
          <p:nvPr/>
        </p:nvSpPr>
        <p:spPr>
          <a:xfrm>
            <a:off x="1124483" y="552186"/>
            <a:ext cx="7047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حساب الكل ماهي العملية الحسابية التي سنوظفها، هل الجمع أم الطرح؟ </a:t>
            </a:r>
            <a:r>
              <a:rPr lang="ar-MA" sz="14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جيد عملية الجمع</a:t>
            </a:r>
          </a:p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إذن ما هي متساوية الحل لحساب مجموع المشتريات ؟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F94E008-A9AD-556F-3F72-8FEAA3756A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783" y="1988840"/>
            <a:ext cx="7336261" cy="1965982"/>
          </a:xfrm>
          <a:prstGeom prst="rect">
            <a:avLst/>
          </a:prstGeom>
        </p:spPr>
      </p:pic>
      <p:grpSp>
        <p:nvGrpSpPr>
          <p:cNvPr id="2" name="Groupe 13">
            <a:extLst>
              <a:ext uri="{FF2B5EF4-FFF2-40B4-BE49-F238E27FC236}">
                <a16:creationId xmlns:a16="http://schemas.microsoft.com/office/drawing/2014/main" id="{845F80AC-2980-46A1-762C-04DF32C14550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8DEBF5B0-AC37-1B04-2159-92994466D837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1" name="Rectangle : coins arrondis 15">
              <a:extLst>
                <a:ext uri="{FF2B5EF4-FFF2-40B4-BE49-F238E27FC236}">
                  <a16:creationId xmlns:a16="http://schemas.microsoft.com/office/drawing/2014/main" id="{36FAA5A2-C8F1-D598-B56E-C70B1CCF2B7F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2" name="Rectangle : coins arrondis 16">
              <a:extLst>
                <a:ext uri="{FF2B5EF4-FFF2-40B4-BE49-F238E27FC236}">
                  <a16:creationId xmlns:a16="http://schemas.microsoft.com/office/drawing/2014/main" id="{B9142FC4-4A17-A7E7-828E-0A518AB1EDE8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3" name="Rectangle : coins arrondis 17">
              <a:extLst>
                <a:ext uri="{FF2B5EF4-FFF2-40B4-BE49-F238E27FC236}">
                  <a16:creationId xmlns:a16="http://schemas.microsoft.com/office/drawing/2014/main" id="{180C27F5-2AD5-D124-F636-AFCA2FB0E3F6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4" name="Rectangle : coins arrondis 18">
              <a:extLst>
                <a:ext uri="{FF2B5EF4-FFF2-40B4-BE49-F238E27FC236}">
                  <a16:creationId xmlns:a16="http://schemas.microsoft.com/office/drawing/2014/main" id="{D0DCC04E-9C9E-B4F8-F8AD-9FA808D4AAFB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50820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C29AA3-2F1E-C9A8-06BA-08DC6A5B9E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A2CB2C8-E666-D1F5-3B0D-120DE4E7E6E2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C6EAA980-81DA-8FE7-6369-2C08E92721D1}"/>
              </a:ext>
            </a:extLst>
          </p:cNvPr>
          <p:cNvGrpSpPr/>
          <p:nvPr/>
        </p:nvGrpSpPr>
        <p:grpSpPr>
          <a:xfrm>
            <a:off x="345132" y="404839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203C12C8-6A2C-AFBB-1E20-BD691730F838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6270E6A0-425E-4CD4-30B4-DDC0E07BD7B7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EDF33370-DC6E-A938-83E2-89E9F6C7CB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3EE99DC-F2D3-4178-17E4-CA005D7D6744}"/>
              </a:ext>
            </a:extLst>
          </p:cNvPr>
          <p:cNvSpPr txBox="1"/>
          <p:nvPr/>
        </p:nvSpPr>
        <p:spPr>
          <a:xfrm>
            <a:off x="1124483" y="552186"/>
            <a:ext cx="7047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تساوية الحل لحساب مجموع المشتريات هي: </a:t>
            </a:r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19 + 199 + 130 = ?                  </a:t>
            </a:r>
            <a:endParaRPr lang="ar-MA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F0AB3B7-6C0B-B32C-529E-9362EE969D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783" y="1307185"/>
            <a:ext cx="7336261" cy="1965982"/>
          </a:xfrm>
          <a:prstGeom prst="rect">
            <a:avLst/>
          </a:prstGeom>
        </p:spPr>
      </p:pic>
      <p:sp>
        <p:nvSpPr>
          <p:cNvPr id="2" name="Ellipse 1">
            <a:extLst>
              <a:ext uri="{FF2B5EF4-FFF2-40B4-BE49-F238E27FC236}">
                <a16:creationId xmlns:a16="http://schemas.microsoft.com/office/drawing/2014/main" id="{6B1F0ECD-6CFD-DD32-E651-0B82C9094036}"/>
              </a:ext>
            </a:extLst>
          </p:cNvPr>
          <p:cNvSpPr/>
          <p:nvPr/>
        </p:nvSpPr>
        <p:spPr>
          <a:xfrm>
            <a:off x="3744000" y="1667225"/>
            <a:ext cx="576064" cy="567902"/>
          </a:xfrm>
          <a:prstGeom prst="ellipse">
            <a:avLst/>
          </a:prstGeom>
          <a:noFill/>
          <a:ln w="57150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ar-MA" sz="3200" b="1" dirty="0"/>
              <a:t>+</a:t>
            </a:r>
            <a:endParaRPr lang="fr-FR" sz="3200" b="1" dirty="0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22C2BDC-C118-142A-25D7-BA75230DC949}"/>
              </a:ext>
            </a:extLst>
          </p:cNvPr>
          <p:cNvSpPr/>
          <p:nvPr/>
        </p:nvSpPr>
        <p:spPr>
          <a:xfrm>
            <a:off x="6084168" y="1667225"/>
            <a:ext cx="576064" cy="567902"/>
          </a:xfrm>
          <a:prstGeom prst="ellipse">
            <a:avLst/>
          </a:prstGeom>
          <a:noFill/>
          <a:ln w="57150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ar-MA" sz="3200" b="1" dirty="0"/>
              <a:t>+</a:t>
            </a:r>
            <a:endParaRPr lang="fr-FR" sz="3200" b="1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36259D8-E03B-16D7-C966-E4203F328919}"/>
              </a:ext>
            </a:extLst>
          </p:cNvPr>
          <p:cNvSpPr txBox="1"/>
          <p:nvPr/>
        </p:nvSpPr>
        <p:spPr>
          <a:xfrm>
            <a:off x="-107375" y="3717032"/>
            <a:ext cx="82363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تساوية الحل هي:       </a:t>
            </a:r>
            <a:r>
              <a:rPr lang="fr-FR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19 + 199 + 130 = ? </a:t>
            </a:r>
            <a:r>
              <a:rPr lang="ar-MA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grpSp>
        <p:nvGrpSpPr>
          <p:cNvPr id="11" name="Groupe 13">
            <a:extLst>
              <a:ext uri="{FF2B5EF4-FFF2-40B4-BE49-F238E27FC236}">
                <a16:creationId xmlns:a16="http://schemas.microsoft.com/office/drawing/2014/main" id="{DF09139F-6A82-D49F-D5F5-009883511FBD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3" name="Rectangle : coins arrondis 14">
              <a:extLst>
                <a:ext uri="{FF2B5EF4-FFF2-40B4-BE49-F238E27FC236}">
                  <a16:creationId xmlns:a16="http://schemas.microsoft.com/office/drawing/2014/main" id="{D92747EE-6C75-DFC6-0720-F57D966A1A2C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4" name="Rectangle : coins arrondis 15">
              <a:extLst>
                <a:ext uri="{FF2B5EF4-FFF2-40B4-BE49-F238E27FC236}">
                  <a16:creationId xmlns:a16="http://schemas.microsoft.com/office/drawing/2014/main" id="{61EA10C1-F726-EB50-62CF-C33A82940896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5" name="Rectangle : coins arrondis 16">
              <a:extLst>
                <a:ext uri="{FF2B5EF4-FFF2-40B4-BE49-F238E27FC236}">
                  <a16:creationId xmlns:a16="http://schemas.microsoft.com/office/drawing/2014/main" id="{B9371FEE-5C36-85C2-34B2-6D4120149E97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6" name="Rectangle : coins arrondis 17">
              <a:extLst>
                <a:ext uri="{FF2B5EF4-FFF2-40B4-BE49-F238E27FC236}">
                  <a16:creationId xmlns:a16="http://schemas.microsoft.com/office/drawing/2014/main" id="{EB8478EB-5BE7-872E-EF26-0F210343A206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1" name="Rectangle : coins arrondis 18">
              <a:extLst>
                <a:ext uri="{FF2B5EF4-FFF2-40B4-BE49-F238E27FC236}">
                  <a16:creationId xmlns:a16="http://schemas.microsoft.com/office/drawing/2014/main" id="{24A30489-AF3E-8B35-1F80-2A1C116B3FCC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46102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29B187-A152-AB17-709C-8E1A1B97A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2BBA033-804C-C16F-6812-E294EE112242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BBE7BF29-112B-E10C-A82B-BB3592E2AABC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B302AB9F-A776-7BDB-D940-A8BF3C676977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EA37910D-C7ED-721D-3418-363FCEB3BA2D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58BAAF05-E446-0BB8-A3F8-A592ADC761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2988709-E8ED-697A-1873-8E761C35492E}"/>
              </a:ext>
            </a:extLst>
          </p:cNvPr>
          <p:cNvSpPr txBox="1"/>
          <p:nvPr/>
        </p:nvSpPr>
        <p:spPr>
          <a:xfrm>
            <a:off x="509806" y="549904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ربح الوقت عملية مجموع المشتريات هي كالتالي: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261C069-EAF5-A81E-129D-DCDFBB6B2F2D}"/>
              </a:ext>
            </a:extLst>
          </p:cNvPr>
          <p:cNvSpPr txBox="1"/>
          <p:nvPr/>
        </p:nvSpPr>
        <p:spPr>
          <a:xfrm>
            <a:off x="1100743" y="1314976"/>
            <a:ext cx="662473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5400" b="1" dirty="0">
                <a:solidFill>
                  <a:srgbClr val="106583"/>
                </a:solidFill>
              </a:rPr>
              <a:t>  </a:t>
            </a:r>
            <a:r>
              <a:rPr lang="fr-FR" sz="6000" b="1" dirty="0">
                <a:solidFill>
                  <a:srgbClr val="106583"/>
                </a:solidFill>
              </a:rPr>
              <a:t>2 1 9</a:t>
            </a:r>
          </a:p>
          <a:p>
            <a:pPr algn="ctr"/>
            <a:r>
              <a:rPr lang="fr-FR" sz="5400" b="1" dirty="0">
                <a:solidFill>
                  <a:srgbClr val="106583"/>
                </a:solidFill>
              </a:rPr>
              <a:t>  </a:t>
            </a:r>
            <a:r>
              <a:rPr lang="fr-FR" sz="6000" b="1" dirty="0">
                <a:solidFill>
                  <a:srgbClr val="106583"/>
                </a:solidFill>
              </a:rPr>
              <a:t>1 9 9</a:t>
            </a:r>
          </a:p>
          <a:p>
            <a:pPr algn="ctr"/>
            <a:r>
              <a:rPr lang="fr-FR" sz="6000" b="1" dirty="0">
                <a:solidFill>
                  <a:srgbClr val="106583"/>
                </a:solidFill>
              </a:rPr>
              <a:t>  1 3 0</a:t>
            </a:r>
          </a:p>
          <a:p>
            <a:pPr algn="ctr"/>
            <a:r>
              <a:rPr lang="fr-FR" sz="6000" b="1" dirty="0">
                <a:solidFill>
                  <a:srgbClr val="FF0000"/>
                </a:solidFill>
              </a:rPr>
              <a:t>  5 4 8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ABFE2709-C766-0CDD-4AC5-1B71AD80636F}"/>
              </a:ext>
            </a:extLst>
          </p:cNvPr>
          <p:cNvSpPr txBox="1"/>
          <p:nvPr/>
        </p:nvSpPr>
        <p:spPr>
          <a:xfrm>
            <a:off x="3311952" y="1932806"/>
            <a:ext cx="4320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rgbClr val="106583"/>
                </a:solidFill>
              </a:rPr>
              <a:t>+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25CFCEA8-8C57-4074-A2D7-86E630B3B83C}"/>
              </a:ext>
            </a:extLst>
          </p:cNvPr>
          <p:cNvCxnSpPr>
            <a:cxnSpLocks/>
          </p:cNvCxnSpPr>
          <p:nvPr/>
        </p:nvCxnSpPr>
        <p:spPr>
          <a:xfrm>
            <a:off x="3419872" y="4149080"/>
            <a:ext cx="2520280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ZoneTexte 22">
            <a:extLst>
              <a:ext uri="{FF2B5EF4-FFF2-40B4-BE49-F238E27FC236}">
                <a16:creationId xmlns:a16="http://schemas.microsoft.com/office/drawing/2014/main" id="{D8EE811C-8AB1-0976-86BE-7DB095EE5084}"/>
              </a:ext>
            </a:extLst>
          </p:cNvPr>
          <p:cNvSpPr txBox="1"/>
          <p:nvPr/>
        </p:nvSpPr>
        <p:spPr>
          <a:xfrm>
            <a:off x="4350193" y="930076"/>
            <a:ext cx="432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0EA2D1A-E962-DEC7-99FD-950488E511E9}"/>
              </a:ext>
            </a:extLst>
          </p:cNvPr>
          <p:cNvSpPr txBox="1"/>
          <p:nvPr/>
        </p:nvSpPr>
        <p:spPr>
          <a:xfrm>
            <a:off x="3311952" y="2921707"/>
            <a:ext cx="4320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rgbClr val="106583"/>
                </a:solidFill>
              </a:rPr>
              <a:t>+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30D2A9A-6F6B-4B44-640F-917B54BA6F2C}"/>
              </a:ext>
            </a:extLst>
          </p:cNvPr>
          <p:cNvSpPr txBox="1"/>
          <p:nvPr/>
        </p:nvSpPr>
        <p:spPr>
          <a:xfrm>
            <a:off x="3744000" y="909988"/>
            <a:ext cx="432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FF0000"/>
                </a:solidFill>
              </a:rPr>
              <a:t>1</a:t>
            </a:r>
          </a:p>
        </p:txBody>
      </p:sp>
      <p:grpSp>
        <p:nvGrpSpPr>
          <p:cNvPr id="18" name="Groupe 13">
            <a:extLst>
              <a:ext uri="{FF2B5EF4-FFF2-40B4-BE49-F238E27FC236}">
                <a16:creationId xmlns:a16="http://schemas.microsoft.com/office/drawing/2014/main" id="{E683B1E2-345F-3B84-33BB-9EB2D57AC8B9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9" name="Rectangle : coins arrondis 14">
              <a:extLst>
                <a:ext uri="{FF2B5EF4-FFF2-40B4-BE49-F238E27FC236}">
                  <a16:creationId xmlns:a16="http://schemas.microsoft.com/office/drawing/2014/main" id="{B7FBE752-13AA-671A-EEC2-7382B8AEEF7C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20" name="Rectangle : coins arrondis 15">
              <a:extLst>
                <a:ext uri="{FF2B5EF4-FFF2-40B4-BE49-F238E27FC236}">
                  <a16:creationId xmlns:a16="http://schemas.microsoft.com/office/drawing/2014/main" id="{24A25BDF-2A33-328B-7185-AB3CA48EF73F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4" name="Rectangle : coins arrondis 16">
              <a:extLst>
                <a:ext uri="{FF2B5EF4-FFF2-40B4-BE49-F238E27FC236}">
                  <a16:creationId xmlns:a16="http://schemas.microsoft.com/office/drawing/2014/main" id="{BE42FBFC-F577-0C07-19CD-C03EAE3147EC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5" name="Rectangle : coins arrondis 17">
              <a:extLst>
                <a:ext uri="{FF2B5EF4-FFF2-40B4-BE49-F238E27FC236}">
                  <a16:creationId xmlns:a16="http://schemas.microsoft.com/office/drawing/2014/main" id="{D2F5381C-83AE-35A4-513E-3A5830626DE3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6" name="Rectangle : coins arrondis 18">
              <a:extLst>
                <a:ext uri="{FF2B5EF4-FFF2-40B4-BE49-F238E27FC236}">
                  <a16:creationId xmlns:a16="http://schemas.microsoft.com/office/drawing/2014/main" id="{5E717AA7-8F53-4D10-918A-9E51B78EF20E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10368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FEC2E5-594F-8271-DB83-59F137929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3717C19-B3A2-B664-BC04-8045E2A797F8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BE830735-7E1B-889F-785F-81CFA771BBFC}"/>
              </a:ext>
            </a:extLst>
          </p:cNvPr>
          <p:cNvGrpSpPr/>
          <p:nvPr/>
        </p:nvGrpSpPr>
        <p:grpSpPr>
          <a:xfrm>
            <a:off x="345132" y="404839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11AF92B4-E517-8382-A27D-BC2DB186CC10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4E5E92FF-CB9F-74DF-6E04-77FC018D8DBB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3431C896-3CB6-1B80-B38D-ED609CBD9F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9C6431D-4692-F550-E058-19A132CED6D6}"/>
              </a:ext>
            </a:extLst>
          </p:cNvPr>
          <p:cNvSpPr txBox="1"/>
          <p:nvPr/>
        </p:nvSpPr>
        <p:spPr>
          <a:xfrm>
            <a:off x="539585" y="552186"/>
            <a:ext cx="7632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تيجة متساوية الحل لحساب مجموع المشتريات هي: </a:t>
            </a:r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19 + 199 + 130 = 548             </a:t>
            </a:r>
            <a:endParaRPr lang="ar-MA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582D0ED-4331-50BF-02B9-454EAE2D3F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783" y="1307185"/>
            <a:ext cx="7336261" cy="1965982"/>
          </a:xfrm>
          <a:prstGeom prst="rect">
            <a:avLst/>
          </a:prstGeom>
        </p:spPr>
      </p:pic>
      <p:sp>
        <p:nvSpPr>
          <p:cNvPr id="2" name="Ellipse 1">
            <a:extLst>
              <a:ext uri="{FF2B5EF4-FFF2-40B4-BE49-F238E27FC236}">
                <a16:creationId xmlns:a16="http://schemas.microsoft.com/office/drawing/2014/main" id="{0C06A9FD-6D99-80AE-1890-14DC3D5FDA1B}"/>
              </a:ext>
            </a:extLst>
          </p:cNvPr>
          <p:cNvSpPr/>
          <p:nvPr/>
        </p:nvSpPr>
        <p:spPr>
          <a:xfrm>
            <a:off x="3744000" y="1667225"/>
            <a:ext cx="576064" cy="567902"/>
          </a:xfrm>
          <a:prstGeom prst="ellipse">
            <a:avLst/>
          </a:prstGeom>
          <a:noFill/>
          <a:ln w="57150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ar-MA" sz="3200" b="1" dirty="0"/>
              <a:t>+</a:t>
            </a:r>
            <a:endParaRPr lang="fr-FR" sz="3200" b="1" dirty="0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CDC3929D-E82B-DD72-BDB9-8CA159403951}"/>
              </a:ext>
            </a:extLst>
          </p:cNvPr>
          <p:cNvSpPr/>
          <p:nvPr/>
        </p:nvSpPr>
        <p:spPr>
          <a:xfrm>
            <a:off x="6084168" y="1667225"/>
            <a:ext cx="576064" cy="567902"/>
          </a:xfrm>
          <a:prstGeom prst="ellipse">
            <a:avLst/>
          </a:prstGeom>
          <a:noFill/>
          <a:ln w="57150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ar-MA" sz="3200" b="1" dirty="0"/>
              <a:t>+</a:t>
            </a:r>
            <a:endParaRPr lang="fr-FR" sz="3200" b="1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DB74711-5C30-779C-8F35-66DF4CD6EF27}"/>
              </a:ext>
            </a:extLst>
          </p:cNvPr>
          <p:cNvSpPr txBox="1"/>
          <p:nvPr/>
        </p:nvSpPr>
        <p:spPr>
          <a:xfrm>
            <a:off x="65231" y="3628745"/>
            <a:ext cx="82363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تساوية الحل هي:       </a:t>
            </a:r>
            <a:r>
              <a:rPr lang="fr-FR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19 + 199 + 130 = 548</a:t>
            </a:r>
            <a:endParaRPr lang="ar-MA" sz="24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e 13">
            <a:extLst>
              <a:ext uri="{FF2B5EF4-FFF2-40B4-BE49-F238E27FC236}">
                <a16:creationId xmlns:a16="http://schemas.microsoft.com/office/drawing/2014/main" id="{7D27F708-110F-4B81-0C83-FA6C6ADBEFF3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3" name="Rectangle : coins arrondis 14">
              <a:extLst>
                <a:ext uri="{FF2B5EF4-FFF2-40B4-BE49-F238E27FC236}">
                  <a16:creationId xmlns:a16="http://schemas.microsoft.com/office/drawing/2014/main" id="{51DC93D7-E522-00FC-B2CE-7073BEA7D0DC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4" name="Rectangle : coins arrondis 15">
              <a:extLst>
                <a:ext uri="{FF2B5EF4-FFF2-40B4-BE49-F238E27FC236}">
                  <a16:creationId xmlns:a16="http://schemas.microsoft.com/office/drawing/2014/main" id="{50474CD7-5CFF-195E-5C10-0FF92B27D9FA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5" name="Rectangle : coins arrondis 16">
              <a:extLst>
                <a:ext uri="{FF2B5EF4-FFF2-40B4-BE49-F238E27FC236}">
                  <a16:creationId xmlns:a16="http://schemas.microsoft.com/office/drawing/2014/main" id="{49ED57DB-4982-3362-ECB7-B25F58EA2780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6" name="Rectangle : coins arrondis 17">
              <a:extLst>
                <a:ext uri="{FF2B5EF4-FFF2-40B4-BE49-F238E27FC236}">
                  <a16:creationId xmlns:a16="http://schemas.microsoft.com/office/drawing/2014/main" id="{FFCD5C75-ADF4-13D5-AE6B-36BB1B919498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1" name="Rectangle : coins arrondis 18">
              <a:extLst>
                <a:ext uri="{FF2B5EF4-FFF2-40B4-BE49-F238E27FC236}">
                  <a16:creationId xmlns:a16="http://schemas.microsoft.com/office/drawing/2014/main" id="{AAC87E31-A930-284F-E18B-B2B53F8D5944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54085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2E86FC-2096-3EFA-0B0D-95D28B638B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89A9DEC-9A37-A15C-2D68-046116644AA3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211FE2E0-FB6B-5E70-E4F7-AF1A03840066}"/>
              </a:ext>
            </a:extLst>
          </p:cNvPr>
          <p:cNvGrpSpPr/>
          <p:nvPr/>
        </p:nvGrpSpPr>
        <p:grpSpPr>
          <a:xfrm>
            <a:off x="345132" y="404839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BC67B79D-9B4F-A42C-8954-1A0FEA86DD3C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F021EA27-2D61-A316-95FC-C825BEBDA8FE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B7C9BE19-7C55-159E-3D06-35FBFFC039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CFC0B683-37F7-ADCB-E859-850A2C44C611}"/>
              </a:ext>
            </a:extLst>
          </p:cNvPr>
          <p:cNvSpPr txBox="1"/>
          <p:nvPr/>
        </p:nvSpPr>
        <p:spPr>
          <a:xfrm>
            <a:off x="836139" y="552186"/>
            <a:ext cx="7336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بعد تحديد متساوية الحل، ما هي عبارة الحل؟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EDFCB5A-11BB-6F47-4B18-4D199433D5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9011" y="1604926"/>
            <a:ext cx="7336261" cy="1965982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2236ED04-0B96-87E6-685F-3287E95D9AF0}"/>
              </a:ext>
            </a:extLst>
          </p:cNvPr>
          <p:cNvSpPr txBox="1"/>
          <p:nvPr/>
        </p:nvSpPr>
        <p:spPr>
          <a:xfrm>
            <a:off x="-63917" y="977242"/>
            <a:ext cx="8236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تساوية الحل هي:       </a:t>
            </a:r>
            <a:r>
              <a:rPr lang="fr-FR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19 + 199 + 130 = 548</a:t>
            </a:r>
            <a:endParaRPr lang="ar-MA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" name="Groupe 13">
            <a:extLst>
              <a:ext uri="{FF2B5EF4-FFF2-40B4-BE49-F238E27FC236}">
                <a16:creationId xmlns:a16="http://schemas.microsoft.com/office/drawing/2014/main" id="{786C8C17-C389-F078-C41F-A42D18E3FF69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89553C79-F27E-414B-7D7E-2B3F337EEF68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1" name="Rectangle : coins arrondis 15">
              <a:extLst>
                <a:ext uri="{FF2B5EF4-FFF2-40B4-BE49-F238E27FC236}">
                  <a16:creationId xmlns:a16="http://schemas.microsoft.com/office/drawing/2014/main" id="{B19471B2-CC17-A03B-FDD6-C0F03C16C72F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3" name="Rectangle : coins arrondis 16">
              <a:extLst>
                <a:ext uri="{FF2B5EF4-FFF2-40B4-BE49-F238E27FC236}">
                  <a16:creationId xmlns:a16="http://schemas.microsoft.com/office/drawing/2014/main" id="{5E641378-BC40-C326-8529-671720FA27CF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4" name="Rectangle : coins arrondis 17">
              <a:extLst>
                <a:ext uri="{FF2B5EF4-FFF2-40B4-BE49-F238E27FC236}">
                  <a16:creationId xmlns:a16="http://schemas.microsoft.com/office/drawing/2014/main" id="{E482C483-81D0-FBC8-642B-C5C1968C22C0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5" name="Rectangle : coins arrondis 18">
              <a:extLst>
                <a:ext uri="{FF2B5EF4-FFF2-40B4-BE49-F238E27FC236}">
                  <a16:creationId xmlns:a16="http://schemas.microsoft.com/office/drawing/2014/main" id="{B796E37A-B8C3-90D0-C8A2-B47C32FC1A22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556259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E244E-4473-335F-245B-31336B27C8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E54E28B-F3ED-0006-CF76-23A6D45115E8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FD3C5F3E-E160-3314-3C4C-9C84257D3053}"/>
              </a:ext>
            </a:extLst>
          </p:cNvPr>
          <p:cNvGrpSpPr/>
          <p:nvPr/>
        </p:nvGrpSpPr>
        <p:grpSpPr>
          <a:xfrm>
            <a:off x="345132" y="404839"/>
            <a:ext cx="8518967" cy="6151363"/>
            <a:chOff x="287477" y="293203"/>
            <a:chExt cx="8518967" cy="6251923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6669A558-21EB-175C-03E3-1132B45C8C51}"/>
                </a:ext>
              </a:extLst>
            </p:cNvPr>
            <p:cNvSpPr/>
            <p:nvPr/>
          </p:nvSpPr>
          <p:spPr>
            <a:xfrm>
              <a:off x="287477" y="314447"/>
              <a:ext cx="8518967" cy="6230679"/>
            </a:xfrm>
            <a:prstGeom prst="roundRect">
              <a:avLst>
                <a:gd name="adj" fmla="val 1963"/>
              </a:avLst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DF84F4A8-1676-A1DD-6869-F18FA088D96C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9B87D292-74F4-7970-D44E-DEBDB6D865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953ED46E-082F-B5CE-57AA-D1F1E8F30F2C}"/>
              </a:ext>
            </a:extLst>
          </p:cNvPr>
          <p:cNvSpPr txBox="1"/>
          <p:nvPr/>
        </p:nvSpPr>
        <p:spPr>
          <a:xfrm>
            <a:off x="836139" y="552186"/>
            <a:ext cx="7336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بارة الحل هي:         المبلغ الذي أداه أحمد للبائع هو: 548 درهم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429BA96-4955-18C7-9C30-F1760F7FAE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783" y="1307185"/>
            <a:ext cx="7336261" cy="1965982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0F87DCB5-D9E0-4269-843B-4BA643A6F569}"/>
              </a:ext>
            </a:extLst>
          </p:cNvPr>
          <p:cNvSpPr txBox="1"/>
          <p:nvPr/>
        </p:nvSpPr>
        <p:spPr>
          <a:xfrm>
            <a:off x="947968" y="4005064"/>
            <a:ext cx="73362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بارة الحل هي:      المبلغ الذي أداه أحمد للبائع هو: 548 درهم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B0E98BC-BD45-5118-2DD0-C02BA2E5006C}"/>
              </a:ext>
            </a:extLst>
          </p:cNvPr>
          <p:cNvSpPr txBox="1"/>
          <p:nvPr/>
        </p:nvSpPr>
        <p:spPr>
          <a:xfrm>
            <a:off x="41983" y="3543399"/>
            <a:ext cx="82363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24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تساوية الحل هي:       </a:t>
            </a:r>
            <a:r>
              <a:rPr lang="fr-FR" sz="24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19 + 199 + 130 = 548</a:t>
            </a:r>
            <a:endParaRPr lang="ar-MA" sz="24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" name="Groupe 13">
            <a:extLst>
              <a:ext uri="{FF2B5EF4-FFF2-40B4-BE49-F238E27FC236}">
                <a16:creationId xmlns:a16="http://schemas.microsoft.com/office/drawing/2014/main" id="{22832A67-0CB4-8BCC-8BC8-48F90093341F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752D2995-06EA-1E52-8C37-6C86830CD669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1" name="Rectangle : coins arrondis 15">
              <a:extLst>
                <a:ext uri="{FF2B5EF4-FFF2-40B4-BE49-F238E27FC236}">
                  <a16:creationId xmlns:a16="http://schemas.microsoft.com/office/drawing/2014/main" id="{C5B0D870-F675-3541-62E0-56F41A014D76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2" name="Rectangle : coins arrondis 16">
              <a:extLst>
                <a:ext uri="{FF2B5EF4-FFF2-40B4-BE49-F238E27FC236}">
                  <a16:creationId xmlns:a16="http://schemas.microsoft.com/office/drawing/2014/main" id="{319117EF-97A9-AC5E-A76E-2E2FF4D7250F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5" name="Rectangle : coins arrondis 17">
              <a:extLst>
                <a:ext uri="{FF2B5EF4-FFF2-40B4-BE49-F238E27FC236}">
                  <a16:creationId xmlns:a16="http://schemas.microsoft.com/office/drawing/2014/main" id="{84286299-3D8D-686B-D928-E7901469FE93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6" name="Rectangle : coins arrondis 18">
              <a:extLst>
                <a:ext uri="{FF2B5EF4-FFF2-40B4-BE49-F238E27FC236}">
                  <a16:creationId xmlns:a16="http://schemas.microsoft.com/office/drawing/2014/main" id="{20A34CD4-732E-6949-9ED4-44A96491FE08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65934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0DE928F-F603-D28E-B163-6C9C2E2F04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DE928F-F603-D28E-B163-6C9C2E2F04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ctr"/>
            <a:endParaRPr lang="fr-MA" sz="900">
              <a:latin typeface="Dosis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243896" y="2329990"/>
            <a:ext cx="8216536" cy="157998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4" rtl="1"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</a:t>
            </a: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نمذجة</a:t>
            </a:r>
          </a:p>
          <a:p>
            <a:pPr algn="ctr" defTabSz="685834" rtl="1">
              <a:defRPr/>
            </a:pPr>
            <a:endParaRPr lang="en-GB" sz="2667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حل مسألة باعتماد نموذج الأشرطة 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pic>
        <p:nvPicPr>
          <p:cNvPr id="11" name="Image 12">
            <a:extLst>
              <a:ext uri="{FF2B5EF4-FFF2-40B4-BE49-F238E27FC236}">
                <a16:creationId xmlns:a16="http://schemas.microsoft.com/office/drawing/2014/main" id="{A6DAC996-8C8E-46BF-7E05-12C0AE0BEEB7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948264" y="3386386"/>
            <a:ext cx="812326" cy="449702"/>
          </a:xfrm>
          <a:prstGeom prst="rect">
            <a:avLst/>
          </a:prstGeom>
        </p:spPr>
      </p:pic>
      <p:grpSp>
        <p:nvGrpSpPr>
          <p:cNvPr id="2" name="Groupe 1">
            <a:extLst>
              <a:ext uri="{FF2B5EF4-FFF2-40B4-BE49-F238E27FC236}">
                <a16:creationId xmlns:a16="http://schemas.microsoft.com/office/drawing/2014/main" id="{008BE8B3-004D-0E83-CCD6-A1F39C26C2B9}"/>
              </a:ext>
            </a:extLst>
          </p:cNvPr>
          <p:cNvGrpSpPr/>
          <p:nvPr/>
        </p:nvGrpSpPr>
        <p:grpSpPr>
          <a:xfrm>
            <a:off x="3923928" y="3611237"/>
            <a:ext cx="1635152" cy="1477553"/>
            <a:chOff x="3664087" y="4581128"/>
            <a:chExt cx="1635152" cy="1477553"/>
          </a:xfrm>
        </p:grpSpPr>
        <p:pic>
          <p:nvPicPr>
            <p:cNvPr id="5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2BC639CB-CB69-F1A4-BDC4-D623EBED6B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4087" y="4581128"/>
              <a:ext cx="1621629" cy="1477553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035A2A6-4712-E6C5-587C-90D4B8BA38CB}"/>
                </a:ext>
              </a:extLst>
            </p:cNvPr>
            <p:cNvSpPr/>
            <p:nvPr/>
          </p:nvSpPr>
          <p:spPr>
            <a:xfrm>
              <a:off x="3736855" y="5642853"/>
              <a:ext cx="1562384" cy="3998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 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5329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A3F0B8-FAA7-C68B-73CE-F38F07615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26FC715-1F67-FB44-059C-A2FB3CF14309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D51A4C9C-AADC-7C56-61E5-145E4A283B8C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9E8FA19F-E0AB-07C1-4D4E-24675EB8CDAB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AE059E41-3DC3-3D20-09C6-D79555E56CB8}"/>
                </a:ext>
              </a:extLst>
            </p:cNvPr>
            <p:cNvSpPr/>
            <p:nvPr/>
          </p:nvSpPr>
          <p:spPr>
            <a:xfrm>
              <a:off x="366816" y="366388"/>
              <a:ext cx="7949600" cy="67973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من خلال هذا النموذج، سأقدم لكم الخطوات الأربع لحل مسألة</a:t>
              </a:r>
            </a:p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بداية سأقرأ المسألة. اِنتبهوا جيداً.</a:t>
              </a:r>
              <a:endParaRPr lang="fr-FR" sz="20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93002F0D-BD68-00EB-A993-65CBC26377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4CD394E-8794-1962-C1F8-912CB76B3A5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66816" y="415865"/>
            <a:ext cx="652074" cy="71990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838559B-DAFF-FFB5-F235-9BF6532874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373" y="1628800"/>
            <a:ext cx="8350140" cy="3776805"/>
          </a:xfrm>
          <a:prstGeom prst="rect">
            <a:avLst/>
          </a:prstGeom>
        </p:spPr>
      </p:pic>
      <p:grpSp>
        <p:nvGrpSpPr>
          <p:cNvPr id="15" name="Groupe 13">
            <a:extLst>
              <a:ext uri="{FF2B5EF4-FFF2-40B4-BE49-F238E27FC236}">
                <a16:creationId xmlns:a16="http://schemas.microsoft.com/office/drawing/2014/main" id="{E812E840-4C76-5B5E-F854-DAB1A33766DA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6" name="Rectangle : coins arrondis 14">
              <a:extLst>
                <a:ext uri="{FF2B5EF4-FFF2-40B4-BE49-F238E27FC236}">
                  <a16:creationId xmlns:a16="http://schemas.microsoft.com/office/drawing/2014/main" id="{0B7971B6-4A81-72D8-7448-9DFA7B900140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9" name="Rectangle : coins arrondis 15">
              <a:extLst>
                <a:ext uri="{FF2B5EF4-FFF2-40B4-BE49-F238E27FC236}">
                  <a16:creationId xmlns:a16="http://schemas.microsoft.com/office/drawing/2014/main" id="{01207EA6-ED65-479C-B496-5F6401B5FABD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3" name="Rectangle : coins arrondis 16">
              <a:extLst>
                <a:ext uri="{FF2B5EF4-FFF2-40B4-BE49-F238E27FC236}">
                  <a16:creationId xmlns:a16="http://schemas.microsoft.com/office/drawing/2014/main" id="{26BD4426-19EF-AC70-0D7E-BD1618B01DE0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4" name="Rectangle : coins arrondis 17">
              <a:extLst>
                <a:ext uri="{FF2B5EF4-FFF2-40B4-BE49-F238E27FC236}">
                  <a16:creationId xmlns:a16="http://schemas.microsoft.com/office/drawing/2014/main" id="{1770A6D1-3E5C-2A4A-666D-CD6B668EF22F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5" name="Rectangle : coins arrondis 18">
              <a:extLst>
                <a:ext uri="{FF2B5EF4-FFF2-40B4-BE49-F238E27FC236}">
                  <a16:creationId xmlns:a16="http://schemas.microsoft.com/office/drawing/2014/main" id="{94760414-8074-E166-F58C-67E042B587DA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47320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8C29BB-ECCE-C474-CC51-7B10377CF5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1F2D6F9-ECDA-9803-16B6-53CB96928487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862534F-EEA3-E827-E735-875105B484FF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B78A019A-51B9-68E3-A04F-67AE7FBFDE29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B9DBA6F6-CB45-2F7C-927B-502E0C978BAD}"/>
                </a:ext>
              </a:extLst>
            </p:cNvPr>
            <p:cNvSpPr/>
            <p:nvPr/>
          </p:nvSpPr>
          <p:spPr>
            <a:xfrm>
              <a:off x="310444" y="293203"/>
              <a:ext cx="7949600" cy="67973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الخطوة الأولى هي: أستخرج المعطيات من المسألة وأمثلها في شريط</a:t>
              </a:r>
              <a:endParaRPr lang="fr-FR" sz="20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4128C034-4210-F132-9FA2-089EAB1C8A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C7655F1-90AB-7321-CABC-CFEB3CBD27A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0444" y="442049"/>
            <a:ext cx="814039" cy="898719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92D34642-A780-8C39-5021-DBC434C1873F}"/>
              </a:ext>
            </a:extLst>
          </p:cNvPr>
          <p:cNvSpPr/>
          <p:nvPr/>
        </p:nvSpPr>
        <p:spPr>
          <a:xfrm>
            <a:off x="441748" y="1889348"/>
            <a:ext cx="8260504" cy="1539652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/>
            <a:endParaRPr lang="ar-MA" sz="2400" b="1" dirty="0"/>
          </a:p>
          <a:p>
            <a:pPr algn="just" rtl="1"/>
            <a:r>
              <a:rPr lang="ar-MA" sz="2400" b="1" dirty="0"/>
              <a:t>في مدرسة 394 تلميذا ،منهم 125 تلميذا يدرسون بالمستوى الخامس والسادس، ما مجموع عدد التلاميذ الذين يتابعون دراستهم بالمستويات الأخرى؟</a:t>
            </a:r>
          </a:p>
          <a:p>
            <a:pPr algn="just" rtl="1"/>
            <a:endParaRPr lang="ar-MA" sz="2400" b="1" dirty="0"/>
          </a:p>
        </p:txBody>
      </p:sp>
      <p:grpSp>
        <p:nvGrpSpPr>
          <p:cNvPr id="2" name="Groupe 13">
            <a:extLst>
              <a:ext uri="{FF2B5EF4-FFF2-40B4-BE49-F238E27FC236}">
                <a16:creationId xmlns:a16="http://schemas.microsoft.com/office/drawing/2014/main" id="{F3B293DB-76B9-3351-5130-7E22650C93CC}"/>
              </a:ext>
            </a:extLst>
          </p:cNvPr>
          <p:cNvGrpSpPr/>
          <p:nvPr/>
        </p:nvGrpSpPr>
        <p:grpSpPr>
          <a:xfrm>
            <a:off x="337556" y="44624"/>
            <a:ext cx="8468888" cy="324000"/>
            <a:chOff x="312517" y="-3809"/>
            <a:chExt cx="8468888" cy="360000"/>
          </a:xfrm>
          <a:noFill/>
        </p:grpSpPr>
        <p:sp>
          <p:nvSpPr>
            <p:cNvPr id="4" name="Rectangle : coins arrondis 14">
              <a:extLst>
                <a:ext uri="{FF2B5EF4-FFF2-40B4-BE49-F238E27FC236}">
                  <a16:creationId xmlns:a16="http://schemas.microsoft.com/office/drawing/2014/main" id="{B9163EB8-D6C8-1D10-0993-2BD156E5F769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5" name="Rectangle : coins arrondis 15">
              <a:extLst>
                <a:ext uri="{FF2B5EF4-FFF2-40B4-BE49-F238E27FC236}">
                  <a16:creationId xmlns:a16="http://schemas.microsoft.com/office/drawing/2014/main" id="{2DEDC21D-9315-7214-E8FA-1FC66965E441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6" name="Rectangle : coins arrondis 16">
              <a:extLst>
                <a:ext uri="{FF2B5EF4-FFF2-40B4-BE49-F238E27FC236}">
                  <a16:creationId xmlns:a16="http://schemas.microsoft.com/office/drawing/2014/main" id="{19F70B1D-7828-816B-4031-B9D305DFA9A8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7" name="Rectangle : coins arrondis 17">
              <a:extLst>
                <a:ext uri="{FF2B5EF4-FFF2-40B4-BE49-F238E27FC236}">
                  <a16:creationId xmlns:a16="http://schemas.microsoft.com/office/drawing/2014/main" id="{519C2D1C-A09D-B8A5-3CE1-B10309A477B6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8" name="Rectangle : coins arrondis 18">
              <a:extLst>
                <a:ext uri="{FF2B5EF4-FFF2-40B4-BE49-F238E27FC236}">
                  <a16:creationId xmlns:a16="http://schemas.microsoft.com/office/drawing/2014/main" id="{864A38D1-D539-D4E1-1149-718EE90D805A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435197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B33A2C-DECB-7558-8EF2-D085443631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3D8DDD9-E2C5-91A0-FC71-BE862FF3D2AE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692FDE6B-68DF-2FB8-72A7-274791A9F75E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E3FDB9B8-CA99-A107-40EA-F415E6C305A9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4C1C3823-1AE0-6E42-D9A9-BB1392C98B54}"/>
                </a:ext>
              </a:extLst>
            </p:cNvPr>
            <p:cNvSpPr/>
            <p:nvPr/>
          </p:nvSpPr>
          <p:spPr>
            <a:xfrm>
              <a:off x="310444" y="293203"/>
              <a:ext cx="8005972" cy="102636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394 مجموع تلاميذ المؤسسة يمثل الكل</a:t>
              </a:r>
            </a:p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125 عدد تلاميذ المستويين 5 و6 يمثل الجزء1</a:t>
              </a:r>
            </a:p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بينما عدد التلاميذ الذين يتابعون دراستهم بالمستويات الأخرى يمثل الجزء2</a:t>
              </a:r>
              <a:endParaRPr lang="fr-FR" sz="20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0A8286C3-3095-7854-DEF0-3D0BD5C46A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1702089-D3D6-E693-08FD-38FD522A015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0444" y="442049"/>
            <a:ext cx="814039" cy="898719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0E680B39-43A7-CD03-D928-5C827E1256A1}"/>
              </a:ext>
            </a:extLst>
          </p:cNvPr>
          <p:cNvSpPr/>
          <p:nvPr/>
        </p:nvSpPr>
        <p:spPr>
          <a:xfrm>
            <a:off x="397780" y="1451870"/>
            <a:ext cx="8260504" cy="1539652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1"/>
            <a:endParaRPr lang="ar-MA" sz="2400" b="1" dirty="0"/>
          </a:p>
          <a:p>
            <a:pPr algn="just" rtl="1"/>
            <a:r>
              <a:rPr lang="ar-MA" sz="2400" b="1" dirty="0">
                <a:solidFill>
                  <a:schemeClr val="tx2"/>
                </a:solidFill>
              </a:rPr>
              <a:t>في مدرسة 394 تلميذا </a:t>
            </a:r>
            <a:r>
              <a:rPr lang="ar-MA" sz="2400" b="1" dirty="0"/>
              <a:t>،منهم </a:t>
            </a:r>
            <a:r>
              <a:rPr lang="ar-MA" sz="2400" b="1" dirty="0">
                <a:solidFill>
                  <a:schemeClr val="accent2">
                    <a:lumMod val="75000"/>
                  </a:schemeClr>
                </a:solidFill>
              </a:rPr>
              <a:t>125 تلميذا يدرسون بالمستوى الخامس والسادس</a:t>
            </a:r>
            <a:r>
              <a:rPr lang="ar-MA" sz="2400" b="1" dirty="0"/>
              <a:t>، </a:t>
            </a:r>
            <a:r>
              <a:rPr lang="ar-MA" sz="2400" b="1" dirty="0">
                <a:solidFill>
                  <a:srgbClr val="FF0000"/>
                </a:solidFill>
              </a:rPr>
              <a:t>ما مجموع عدد التلاميذ الذين يتابعون دراستهم بالمستويات الأخرى؟</a:t>
            </a:r>
          </a:p>
          <a:p>
            <a:pPr algn="just" rtl="1"/>
            <a:endParaRPr lang="ar-MA" sz="2400" b="1" dirty="0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BF529F65-0A19-A0EB-F34B-A689E56FBB2E}"/>
              </a:ext>
            </a:extLst>
          </p:cNvPr>
          <p:cNvSpPr/>
          <p:nvPr/>
        </p:nvSpPr>
        <p:spPr>
          <a:xfrm>
            <a:off x="2000462" y="4931980"/>
            <a:ext cx="4536504" cy="729268"/>
          </a:xfrm>
          <a:prstGeom prst="roundRect">
            <a:avLst/>
          </a:prstGeom>
          <a:noFill/>
          <a:ln w="571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 rtl="1"/>
            <a:r>
              <a:rPr lang="ar-MA" sz="3200" b="1" dirty="0">
                <a:solidFill>
                  <a:schemeClr val="tx2"/>
                </a:solidFill>
              </a:rPr>
              <a:t> 394 مجموع تلاميذ المؤسسة</a:t>
            </a:r>
            <a:endParaRPr lang="fr-FR" sz="3200" b="1" dirty="0">
              <a:solidFill>
                <a:schemeClr val="tx2"/>
              </a:solidFill>
            </a:endParaRPr>
          </a:p>
        </p:txBody>
      </p:sp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E33E06E8-6BEE-CF21-8BB1-63E618EEBF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911892"/>
              </p:ext>
            </p:extLst>
          </p:nvPr>
        </p:nvGraphicFramePr>
        <p:xfrm>
          <a:off x="605829" y="3958290"/>
          <a:ext cx="7844406" cy="57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1995">
                  <a:extLst>
                    <a:ext uri="{9D8B030D-6E8A-4147-A177-3AD203B41FA5}">
                      <a16:colId xmlns:a16="http://schemas.microsoft.com/office/drawing/2014/main" val="3570065000"/>
                    </a:ext>
                  </a:extLst>
                </a:gridCol>
                <a:gridCol w="5462411">
                  <a:extLst>
                    <a:ext uri="{9D8B030D-6E8A-4147-A177-3AD203B41FA5}">
                      <a16:colId xmlns:a16="http://schemas.microsoft.com/office/drawing/2014/main" val="3145658122"/>
                    </a:ext>
                  </a:extLst>
                </a:gridCol>
              </a:tblGrid>
              <a:tr h="545572">
                <a:tc>
                  <a:txBody>
                    <a:bodyPr/>
                    <a:lstStyle/>
                    <a:p>
                      <a:pPr algn="ctr" rtl="1"/>
                      <a:r>
                        <a:rPr lang="ar-MA" sz="3200" dirty="0"/>
                        <a:t>125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3200" dirty="0"/>
                        <a:t>؟</a:t>
                      </a:r>
                      <a:endParaRPr lang="fr-FR" sz="32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949252"/>
                  </a:ext>
                </a:extLst>
              </a:tr>
            </a:tbl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FA6D3671-A923-B508-DE73-7DA873763DEC}"/>
              </a:ext>
            </a:extLst>
          </p:cNvPr>
          <p:cNvSpPr txBox="1"/>
          <p:nvPr/>
        </p:nvSpPr>
        <p:spPr>
          <a:xfrm>
            <a:off x="605829" y="3366284"/>
            <a:ext cx="7198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عدد التلاميذ الذين يتابعون دراستهم </a:t>
            </a:r>
            <a:r>
              <a:rPr lang="ar-MA" sz="1600" b="1" dirty="0">
                <a:solidFill>
                  <a:srgbClr val="FF0000"/>
                </a:solidFill>
              </a:rPr>
              <a:t>بالمستويات</a:t>
            </a:r>
            <a:r>
              <a:rPr lang="ar-MA" b="1" dirty="0">
                <a:solidFill>
                  <a:srgbClr val="FF0000"/>
                </a:solidFill>
              </a:rPr>
              <a:t> الأخرى       </a:t>
            </a:r>
            <a:r>
              <a:rPr lang="ar-MA" sz="2000" b="1" dirty="0">
                <a:solidFill>
                  <a:schemeClr val="accent2">
                    <a:lumMod val="75000"/>
                  </a:schemeClr>
                </a:solidFill>
              </a:rPr>
              <a:t>عدد تلاميذ المستويين 5 و6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C9D1CB6-C44C-6C4F-172B-813FE89FEC33}"/>
              </a:ext>
            </a:extLst>
          </p:cNvPr>
          <p:cNvSpPr txBox="1"/>
          <p:nvPr/>
        </p:nvSpPr>
        <p:spPr>
          <a:xfrm>
            <a:off x="4643898" y="3136352"/>
            <a:ext cx="18861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/>
              <a:t>الجزء 2:</a:t>
            </a:r>
            <a:endParaRPr lang="ar-MA" b="1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8B31752C-4CBA-96AE-8B98-3C8E5E871DC8}"/>
              </a:ext>
            </a:extLst>
          </p:cNvPr>
          <p:cNvSpPr txBox="1"/>
          <p:nvPr/>
        </p:nvSpPr>
        <p:spPr>
          <a:xfrm>
            <a:off x="1124483" y="3162277"/>
            <a:ext cx="18861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/>
              <a:t>الجزء :1</a:t>
            </a:r>
            <a:endParaRPr lang="ar-MA" b="1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133F509-5CF2-9F62-2463-592D7827D5A6}"/>
              </a:ext>
            </a:extLst>
          </p:cNvPr>
          <p:cNvSpPr txBox="1"/>
          <p:nvPr/>
        </p:nvSpPr>
        <p:spPr>
          <a:xfrm>
            <a:off x="5752920" y="5051364"/>
            <a:ext cx="18861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2400" b="1" dirty="0"/>
              <a:t>الكل:</a:t>
            </a:r>
            <a:endParaRPr lang="ar-MA" sz="2800" b="1" dirty="0"/>
          </a:p>
        </p:txBody>
      </p:sp>
      <p:sp>
        <p:nvSpPr>
          <p:cNvPr id="23" name="Accolade fermante 22">
            <a:extLst>
              <a:ext uri="{FF2B5EF4-FFF2-40B4-BE49-F238E27FC236}">
                <a16:creationId xmlns:a16="http://schemas.microsoft.com/office/drawing/2014/main" id="{7B305D54-30F6-1291-0627-935B7E63FABD}"/>
              </a:ext>
            </a:extLst>
          </p:cNvPr>
          <p:cNvSpPr/>
          <p:nvPr/>
        </p:nvSpPr>
        <p:spPr>
          <a:xfrm rot="5400000">
            <a:off x="4255247" y="822826"/>
            <a:ext cx="545571" cy="7844407"/>
          </a:xfrm>
          <a:prstGeom prst="rightBrace">
            <a:avLst/>
          </a:prstGeom>
          <a:ln w="762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/>
              </a:solidFill>
            </a:endParaRPr>
          </a:p>
        </p:txBody>
      </p:sp>
      <p:sp>
        <p:nvSpPr>
          <p:cNvPr id="24" name="Accolade fermante 23">
            <a:extLst>
              <a:ext uri="{FF2B5EF4-FFF2-40B4-BE49-F238E27FC236}">
                <a16:creationId xmlns:a16="http://schemas.microsoft.com/office/drawing/2014/main" id="{3C3D0AB0-0375-4BF0-A323-EED85B4BBAB2}"/>
              </a:ext>
            </a:extLst>
          </p:cNvPr>
          <p:cNvSpPr/>
          <p:nvPr/>
        </p:nvSpPr>
        <p:spPr>
          <a:xfrm rot="16200000">
            <a:off x="1683510" y="2642073"/>
            <a:ext cx="277708" cy="2304257"/>
          </a:xfrm>
          <a:prstGeom prst="rightBrac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5" name="Accolade fermante 24">
            <a:extLst>
              <a:ext uri="{FF2B5EF4-FFF2-40B4-BE49-F238E27FC236}">
                <a16:creationId xmlns:a16="http://schemas.microsoft.com/office/drawing/2014/main" id="{74C69A1E-0764-46B3-CBBC-42F961432704}"/>
              </a:ext>
            </a:extLst>
          </p:cNvPr>
          <p:cNvSpPr/>
          <p:nvPr/>
        </p:nvSpPr>
        <p:spPr>
          <a:xfrm rot="16200000">
            <a:off x="5552772" y="1162408"/>
            <a:ext cx="277708" cy="5263588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200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grpSp>
        <p:nvGrpSpPr>
          <p:cNvPr id="26" name="Groupe 13">
            <a:extLst>
              <a:ext uri="{FF2B5EF4-FFF2-40B4-BE49-F238E27FC236}">
                <a16:creationId xmlns:a16="http://schemas.microsoft.com/office/drawing/2014/main" id="{B144333A-2190-798A-E476-265179561D8A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27" name="Rectangle : coins arrondis 14">
              <a:extLst>
                <a:ext uri="{FF2B5EF4-FFF2-40B4-BE49-F238E27FC236}">
                  <a16:creationId xmlns:a16="http://schemas.microsoft.com/office/drawing/2014/main" id="{60ADA110-C52E-885E-8749-95DB90BFAD52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28" name="Rectangle : coins arrondis 15">
              <a:extLst>
                <a:ext uri="{FF2B5EF4-FFF2-40B4-BE49-F238E27FC236}">
                  <a16:creationId xmlns:a16="http://schemas.microsoft.com/office/drawing/2014/main" id="{2F2BE941-302A-EEF5-DFC4-544FA79DEFAC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9" name="Rectangle : coins arrondis 16">
              <a:extLst>
                <a:ext uri="{FF2B5EF4-FFF2-40B4-BE49-F238E27FC236}">
                  <a16:creationId xmlns:a16="http://schemas.microsoft.com/office/drawing/2014/main" id="{F5385D92-B9A4-9EDB-FDE9-F6652E2593F4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30" name="Rectangle : coins arrondis 17">
              <a:extLst>
                <a:ext uri="{FF2B5EF4-FFF2-40B4-BE49-F238E27FC236}">
                  <a16:creationId xmlns:a16="http://schemas.microsoft.com/office/drawing/2014/main" id="{DB5B400C-EF51-8435-55C5-2E309645BD07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31" name="Rectangle : coins arrondis 18">
              <a:extLst>
                <a:ext uri="{FF2B5EF4-FFF2-40B4-BE49-F238E27FC236}">
                  <a16:creationId xmlns:a16="http://schemas.microsoft.com/office/drawing/2014/main" id="{D9B6B7F9-7A7C-4240-6B05-4580462BC312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73592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188640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خاص بالأستاذ</a:t>
            </a:r>
            <a:endParaRPr kumimoji="0" lang="fr-MA" sz="16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3E8F-A2D4-86F5-970B-0187137D8890}"/>
              </a:ext>
            </a:extLst>
          </p:cNvPr>
          <p:cNvSpPr txBox="1"/>
          <p:nvPr/>
        </p:nvSpPr>
        <p:spPr>
          <a:xfrm>
            <a:off x="1411138" y="605875"/>
            <a:ext cx="6164669" cy="456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ts val="20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سيرورة  الحصة</a:t>
            </a:r>
          </a:p>
        </p:txBody>
      </p:sp>
      <p:sp>
        <p:nvSpPr>
          <p:cNvPr id="16" name="Forme libre : forme 76">
            <a:extLst>
              <a:ext uri="{FF2B5EF4-FFF2-40B4-BE49-F238E27FC236}">
                <a16:creationId xmlns:a16="http://schemas.microsoft.com/office/drawing/2014/main" id="{3DB2E616-9CA7-5A13-BA48-1CC03478AA38}"/>
              </a:ext>
            </a:extLst>
          </p:cNvPr>
          <p:cNvSpPr/>
          <p:nvPr/>
        </p:nvSpPr>
        <p:spPr>
          <a:xfrm flipH="1">
            <a:off x="316603" y="620688"/>
            <a:ext cx="989392" cy="1050471"/>
          </a:xfrm>
          <a:custGeom>
            <a:avLst/>
            <a:gdLst>
              <a:gd name="connsiteX0" fmla="*/ 1980901 w 2058317"/>
              <a:gd name="connsiteY0" fmla="*/ 1385151 h 2053595"/>
              <a:gd name="connsiteX1" fmla="*/ 2008670 w 2058317"/>
              <a:gd name="connsiteY1" fmla="*/ 1343789 h 2053595"/>
              <a:gd name="connsiteX2" fmla="*/ 2009059 w 2058317"/>
              <a:gd name="connsiteY2" fmla="*/ 1343401 h 2053595"/>
              <a:gd name="connsiteX3" fmla="*/ 2057217 w 2058317"/>
              <a:gd name="connsiteY3" fmla="*/ 980854 h 2053595"/>
              <a:gd name="connsiteX4" fmla="*/ 1070165 w 2058317"/>
              <a:gd name="connsiteY4" fmla="*/ 792 h 2053595"/>
              <a:gd name="connsiteX5" fmla="*/ 0 w 2058317"/>
              <a:gd name="connsiteY5" fmla="*/ 1029206 h 2053595"/>
              <a:gd name="connsiteX6" fmla="*/ 925301 w 2058317"/>
              <a:gd name="connsiteY6" fmla="*/ 2052960 h 2053595"/>
              <a:gd name="connsiteX7" fmla="*/ 1003170 w 2058317"/>
              <a:gd name="connsiteY7" fmla="*/ 2035289 h 2053595"/>
              <a:gd name="connsiteX8" fmla="*/ 1980707 w 2058317"/>
              <a:gd name="connsiteY8" fmla="*/ 1385928 h 2053595"/>
              <a:gd name="connsiteX9" fmla="*/ 1980901 w 2058317"/>
              <a:gd name="connsiteY9" fmla="*/ 1385151 h 2053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8317" h="2053595">
                <a:moveTo>
                  <a:pt x="1980901" y="1385151"/>
                </a:moveTo>
                <a:cubicBezTo>
                  <a:pt x="1991388" y="1372140"/>
                  <a:pt x="1997019" y="1356023"/>
                  <a:pt x="2008670" y="1343789"/>
                </a:cubicBezTo>
                <a:cubicBezTo>
                  <a:pt x="2008864" y="1343595"/>
                  <a:pt x="2009059" y="1343595"/>
                  <a:pt x="2009059" y="1343401"/>
                </a:cubicBezTo>
                <a:cubicBezTo>
                  <a:pt x="2045566" y="1229801"/>
                  <a:pt x="2063043" y="1107852"/>
                  <a:pt x="2057217" y="980854"/>
                </a:cubicBezTo>
                <a:cubicBezTo>
                  <a:pt x="2032944" y="450529"/>
                  <a:pt x="1600489" y="21376"/>
                  <a:pt x="1070165" y="792"/>
                </a:cubicBezTo>
                <a:cubicBezTo>
                  <a:pt x="483137" y="-21928"/>
                  <a:pt x="0" y="447228"/>
                  <a:pt x="0" y="1029206"/>
                </a:cubicBezTo>
                <a:cubicBezTo>
                  <a:pt x="0" y="1562444"/>
                  <a:pt x="405657" y="2000918"/>
                  <a:pt x="925301" y="2052960"/>
                </a:cubicBezTo>
                <a:cubicBezTo>
                  <a:pt x="952487" y="2055679"/>
                  <a:pt x="979868" y="2049659"/>
                  <a:pt x="1003170" y="2035289"/>
                </a:cubicBezTo>
                <a:cubicBezTo>
                  <a:pt x="1171142" y="1931593"/>
                  <a:pt x="1853709" y="1481273"/>
                  <a:pt x="1980707" y="1385928"/>
                </a:cubicBezTo>
                <a:cubicBezTo>
                  <a:pt x="1980707" y="1385733"/>
                  <a:pt x="1980707" y="1385345"/>
                  <a:pt x="1980901" y="1385151"/>
                </a:cubicBezTo>
                <a:close/>
              </a:path>
            </a:pathLst>
          </a:custGeom>
          <a:gradFill>
            <a:gsLst>
              <a:gs pos="50000">
                <a:srgbClr val="38A4B4"/>
              </a:gs>
              <a:gs pos="0">
                <a:srgbClr val="70B1B6"/>
              </a:gs>
              <a:gs pos="100000">
                <a:srgbClr val="0097B2"/>
              </a:gs>
            </a:gsLst>
            <a:lin ang="5400000" scaled="1"/>
          </a:gradFill>
          <a:ln w="13658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oupe 4">
            <a:extLst>
              <a:ext uri="{FF2B5EF4-FFF2-40B4-BE49-F238E27FC236}">
                <a16:creationId xmlns:a16="http://schemas.microsoft.com/office/drawing/2014/main" id="{6437A8B6-DE39-69DF-FADB-866BB7D9E63E}"/>
              </a:ext>
            </a:extLst>
          </p:cNvPr>
          <p:cNvGrpSpPr/>
          <p:nvPr/>
        </p:nvGrpSpPr>
        <p:grpSpPr>
          <a:xfrm>
            <a:off x="374009" y="691262"/>
            <a:ext cx="885623" cy="937538"/>
            <a:chOff x="1240960" y="1969612"/>
            <a:chExt cx="625769" cy="662452"/>
          </a:xfrm>
        </p:grpSpPr>
        <p:grpSp>
          <p:nvGrpSpPr>
            <p:cNvPr id="19" name="Graphique 2">
              <a:extLst>
                <a:ext uri="{FF2B5EF4-FFF2-40B4-BE49-F238E27FC236}">
                  <a16:creationId xmlns:a16="http://schemas.microsoft.com/office/drawing/2014/main" id="{EEDD6ED9-99F5-09BE-09CE-5A80FD58CA58}"/>
                </a:ext>
              </a:extLst>
            </p:cNvPr>
            <p:cNvGrpSpPr/>
            <p:nvPr/>
          </p:nvGrpSpPr>
          <p:grpSpPr>
            <a:xfrm flipH="1">
              <a:off x="1395728" y="1969612"/>
              <a:ext cx="319573" cy="383989"/>
              <a:chOff x="981026" y="1344834"/>
              <a:chExt cx="2418112" cy="2905526"/>
            </a:xfrm>
          </p:grpSpPr>
          <p:grpSp>
            <p:nvGrpSpPr>
              <p:cNvPr id="22" name="Graphique 2">
                <a:extLst>
                  <a:ext uri="{FF2B5EF4-FFF2-40B4-BE49-F238E27FC236}">
                    <a16:creationId xmlns:a16="http://schemas.microsoft.com/office/drawing/2014/main" id="{2FA1A22E-9844-15F2-3A8D-FF101439AB45}"/>
                  </a:ext>
                </a:extLst>
              </p:cNvPr>
              <p:cNvGrpSpPr/>
              <p:nvPr/>
            </p:nvGrpSpPr>
            <p:grpSpPr>
              <a:xfrm>
                <a:off x="1098817" y="1344834"/>
                <a:ext cx="2184485" cy="887190"/>
                <a:chOff x="1098817" y="1344834"/>
                <a:chExt cx="2184485" cy="887190"/>
              </a:xfrm>
            </p:grpSpPr>
            <p:grpSp>
              <p:nvGrpSpPr>
                <p:cNvPr id="52" name="Graphique 2">
                  <a:extLst>
                    <a:ext uri="{FF2B5EF4-FFF2-40B4-BE49-F238E27FC236}">
                      <a16:creationId xmlns:a16="http://schemas.microsoft.com/office/drawing/2014/main" id="{47F7B187-B309-9C47-A50C-6FB23B0E4242}"/>
                    </a:ext>
                  </a:extLst>
                </p:cNvPr>
                <p:cNvGrpSpPr/>
                <p:nvPr/>
              </p:nvGrpSpPr>
              <p:grpSpPr>
                <a:xfrm>
                  <a:off x="1098817" y="1344834"/>
                  <a:ext cx="770041" cy="887190"/>
                  <a:chOff x="1098817" y="1344834"/>
                  <a:chExt cx="770041" cy="887190"/>
                </a:xfrm>
              </p:grpSpPr>
              <p:grpSp>
                <p:nvGrpSpPr>
                  <p:cNvPr id="62" name="Graphique 2">
                    <a:extLst>
                      <a:ext uri="{FF2B5EF4-FFF2-40B4-BE49-F238E27FC236}">
                        <a16:creationId xmlns:a16="http://schemas.microsoft.com/office/drawing/2014/main" id="{871183D9-C451-4B9B-7BAE-0AB313818B30}"/>
                      </a:ext>
                    </a:extLst>
                  </p:cNvPr>
                  <p:cNvGrpSpPr/>
                  <p:nvPr/>
                </p:nvGrpSpPr>
                <p:grpSpPr>
                  <a:xfrm>
                    <a:off x="1098817" y="1344834"/>
                    <a:ext cx="770041" cy="613581"/>
                    <a:chOff x="1098817" y="1344834"/>
                    <a:chExt cx="770041" cy="613581"/>
                  </a:xfrm>
                </p:grpSpPr>
                <p:sp>
                  <p:nvSpPr>
                    <p:cNvPr id="66" name="Forme libre : forme 54">
                      <a:extLst>
                        <a:ext uri="{FF2B5EF4-FFF2-40B4-BE49-F238E27FC236}">
                          <a16:creationId xmlns:a16="http://schemas.microsoft.com/office/drawing/2014/main" id="{01CF0570-349F-61DE-BF3F-982CD4DE41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98817" y="1344834"/>
                      <a:ext cx="736597" cy="555518"/>
                    </a:xfrm>
                    <a:custGeom>
                      <a:avLst/>
                      <a:gdLst>
                        <a:gd name="connsiteX0" fmla="*/ 219483 w 736597"/>
                        <a:gd name="connsiteY0" fmla="*/ 62874 h 555518"/>
                        <a:gd name="connsiteX1" fmla="*/ 38464 w 736597"/>
                        <a:gd name="connsiteY1" fmla="*/ 555518 h 555518"/>
                        <a:gd name="connsiteX2" fmla="*/ 736597 w 736597"/>
                        <a:gd name="connsiteY2" fmla="*/ 152499 h 555518"/>
                        <a:gd name="connsiteX3" fmla="*/ 219483 w 736597"/>
                        <a:gd name="connsiteY3" fmla="*/ 62874 h 5555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736597" h="555518">
                          <a:moveTo>
                            <a:pt x="219483" y="62874"/>
                          </a:moveTo>
                          <a:cubicBezTo>
                            <a:pt x="26671" y="174021"/>
                            <a:pt x="-54404" y="394546"/>
                            <a:pt x="38464" y="555518"/>
                          </a:cubicBezTo>
                          <a:lnTo>
                            <a:pt x="736597" y="152499"/>
                          </a:lnTo>
                          <a:cubicBezTo>
                            <a:pt x="643729" y="-8178"/>
                            <a:pt x="412296" y="-48273"/>
                            <a:pt x="219483" y="62874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 dirty="0"/>
                    </a:p>
                  </p:txBody>
                </p:sp>
                <p:sp>
                  <p:nvSpPr>
                    <p:cNvPr id="67" name="Forme libre : forme 55">
                      <a:extLst>
                        <a:ext uri="{FF2B5EF4-FFF2-40B4-BE49-F238E27FC236}">
                          <a16:creationId xmlns:a16="http://schemas.microsoft.com/office/drawing/2014/main" id="{0D9AE004-6203-6F66-9E72-D5E9299BED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95894" y="1365598"/>
                      <a:ext cx="516229" cy="179200"/>
                    </a:xfrm>
                    <a:custGeom>
                      <a:avLst/>
                      <a:gdLst>
                        <a:gd name="connsiteX0" fmla="*/ 4127 w 516229"/>
                        <a:gd name="connsiteY0" fmla="*/ 62747 h 179200"/>
                        <a:gd name="connsiteX1" fmla="*/ 0 w 516229"/>
                        <a:gd name="connsiteY1" fmla="*/ 65400 h 179200"/>
                        <a:gd name="connsiteX2" fmla="*/ 457266 w 516229"/>
                        <a:gd name="connsiteY2" fmla="*/ 179201 h 179200"/>
                        <a:gd name="connsiteX3" fmla="*/ 516230 w 516229"/>
                        <a:gd name="connsiteY3" fmla="*/ 145296 h 179200"/>
                        <a:gd name="connsiteX4" fmla="*/ 4127 w 516229"/>
                        <a:gd name="connsiteY4" fmla="*/ 62747 h 17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6229" h="179200">
                          <a:moveTo>
                            <a:pt x="4127" y="62747"/>
                          </a:moveTo>
                          <a:cubicBezTo>
                            <a:pt x="2653" y="63631"/>
                            <a:pt x="1474" y="64516"/>
                            <a:pt x="0" y="65400"/>
                          </a:cubicBezTo>
                          <a:cubicBezTo>
                            <a:pt x="177776" y="-8010"/>
                            <a:pt x="372357" y="37097"/>
                            <a:pt x="457266" y="179201"/>
                          </a:cubicBezTo>
                          <a:lnTo>
                            <a:pt x="516230" y="145296"/>
                          </a:lnTo>
                          <a:cubicBezTo>
                            <a:pt x="420708" y="-9189"/>
                            <a:pt x="193697" y="-46631"/>
                            <a:pt x="4127" y="62747"/>
                          </a:cubicBezTo>
                          <a:close/>
                        </a:path>
                      </a:pathLst>
                    </a:custGeom>
                    <a:solidFill>
                      <a:srgbClr val="37D3CF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68" name="Forme libre : forme 57">
                      <a:extLst>
                        <a:ext uri="{FF2B5EF4-FFF2-40B4-BE49-F238E27FC236}">
                          <a16:creationId xmlns:a16="http://schemas.microsoft.com/office/drawing/2014/main" id="{FEE51344-477D-14CB-98CA-0C7396BA3335}"/>
                        </a:ext>
                      </a:extLst>
                    </p:cNvPr>
                    <p:cNvSpPr/>
                    <p:nvPr/>
                  </p:nvSpPr>
                  <p:spPr>
                    <a:xfrm rot="-1800044">
                      <a:off x="1083373" y="1632027"/>
                      <a:ext cx="806019" cy="133845"/>
                    </a:xfrm>
                    <a:custGeom>
                      <a:avLst/>
                      <a:gdLst>
                        <a:gd name="connsiteX0" fmla="*/ 806020 w 806019"/>
                        <a:gd name="connsiteY0" fmla="*/ 66923 h 133845"/>
                        <a:gd name="connsiteX1" fmla="*/ 403010 w 806019"/>
                        <a:gd name="connsiteY1" fmla="*/ 133845 h 133845"/>
                        <a:gd name="connsiteX2" fmla="*/ 0 w 806019"/>
                        <a:gd name="connsiteY2" fmla="*/ 66923 h 133845"/>
                        <a:gd name="connsiteX3" fmla="*/ 403010 w 806019"/>
                        <a:gd name="connsiteY3" fmla="*/ 0 h 133845"/>
                        <a:gd name="connsiteX4" fmla="*/ 806020 w 806019"/>
                        <a:gd name="connsiteY4" fmla="*/ 66923 h 13384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06019" h="133845">
                          <a:moveTo>
                            <a:pt x="806020" y="66923"/>
                          </a:moveTo>
                          <a:cubicBezTo>
                            <a:pt x="806020" y="103883"/>
                            <a:pt x="625586" y="133845"/>
                            <a:pt x="403010" y="133845"/>
                          </a:cubicBezTo>
                          <a:cubicBezTo>
                            <a:pt x="180434" y="133845"/>
                            <a:pt x="0" y="103883"/>
                            <a:pt x="0" y="66923"/>
                          </a:cubicBezTo>
                          <a:cubicBezTo>
                            <a:pt x="0" y="29962"/>
                            <a:pt x="180434" y="0"/>
                            <a:pt x="403010" y="0"/>
                          </a:cubicBezTo>
                          <a:cubicBezTo>
                            <a:pt x="625586" y="0"/>
                            <a:pt x="806020" y="29962"/>
                            <a:pt x="806020" y="66923"/>
                          </a:cubicBezTo>
                          <a:close/>
                        </a:path>
                      </a:pathLst>
                    </a:custGeom>
                    <a:solidFill>
                      <a:srgbClr val="05535F"/>
                    </a:solidFill>
                    <a:ln w="2945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  <p:grpSp>
                <p:nvGrpSpPr>
                  <p:cNvPr id="63" name="Graphique 2">
                    <a:extLst>
                      <a:ext uri="{FF2B5EF4-FFF2-40B4-BE49-F238E27FC236}">
                        <a16:creationId xmlns:a16="http://schemas.microsoft.com/office/drawing/2014/main" id="{60B39A7E-EBE1-620C-CA4D-32D3FA8E0500}"/>
                      </a:ext>
                    </a:extLst>
                  </p:cNvPr>
                  <p:cNvGrpSpPr/>
                  <p:nvPr/>
                </p:nvGrpSpPr>
                <p:grpSpPr>
                  <a:xfrm>
                    <a:off x="1426335" y="1651948"/>
                    <a:ext cx="412617" cy="580075"/>
                    <a:chOff x="1426335" y="1651948"/>
                    <a:chExt cx="412617" cy="580075"/>
                  </a:xfrm>
                </p:grpSpPr>
                <p:sp>
                  <p:nvSpPr>
                    <p:cNvPr id="64" name="Forme libre : forme 49">
                      <a:extLst>
                        <a:ext uri="{FF2B5EF4-FFF2-40B4-BE49-F238E27FC236}">
                          <a16:creationId xmlns:a16="http://schemas.microsoft.com/office/drawing/2014/main" id="{ADD63E12-3878-1475-454B-55D59277A9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6335" y="1651948"/>
                      <a:ext cx="412617" cy="580075"/>
                    </a:xfrm>
                    <a:custGeom>
                      <a:avLst/>
                      <a:gdLst>
                        <a:gd name="connsiteX0" fmla="*/ 412618 w 412617"/>
                        <a:gd name="connsiteY0" fmla="*/ 502538 h 580075"/>
                        <a:gd name="connsiteX1" fmla="*/ 278180 w 412617"/>
                        <a:gd name="connsiteY1" fmla="*/ 580075 h 580075"/>
                        <a:gd name="connsiteX2" fmla="*/ 10483 w 412617"/>
                        <a:gd name="connsiteY2" fmla="*/ 116324 h 580075"/>
                        <a:gd name="connsiteX3" fmla="*/ 38786 w 412617"/>
                        <a:gd name="connsiteY3" fmla="*/ 10483 h 580075"/>
                        <a:gd name="connsiteX4" fmla="*/ 144626 w 412617"/>
                        <a:gd name="connsiteY4" fmla="*/ 38786 h 580075"/>
                        <a:gd name="connsiteX5" fmla="*/ 412618 w 412617"/>
                        <a:gd name="connsiteY5" fmla="*/ 502538 h 5800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12617" h="580075">
                          <a:moveTo>
                            <a:pt x="412618" y="502538"/>
                          </a:moveTo>
                          <a:lnTo>
                            <a:pt x="278180" y="580075"/>
                          </a:lnTo>
                          <a:lnTo>
                            <a:pt x="10483" y="116324"/>
                          </a:lnTo>
                          <a:cubicBezTo>
                            <a:pt x="-11038" y="79176"/>
                            <a:pt x="1639" y="31710"/>
                            <a:pt x="38786" y="10483"/>
                          </a:cubicBezTo>
                          <a:cubicBezTo>
                            <a:pt x="75933" y="-11038"/>
                            <a:pt x="123399" y="1639"/>
                            <a:pt x="144626" y="38786"/>
                          </a:cubicBezTo>
                          <a:lnTo>
                            <a:pt x="412618" y="502538"/>
                          </a:lnTo>
                          <a:close/>
                        </a:path>
                      </a:pathLst>
                    </a:custGeom>
                    <a:solidFill>
                      <a:srgbClr val="044856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 dirty="0"/>
                    </a:p>
                  </p:txBody>
                </p:sp>
                <p:sp>
                  <p:nvSpPr>
                    <p:cNvPr id="65" name="Forme libre : forme 50">
                      <a:extLst>
                        <a:ext uri="{FF2B5EF4-FFF2-40B4-BE49-F238E27FC236}">
                          <a16:creationId xmlns:a16="http://schemas.microsoft.com/office/drawing/2014/main" id="{D93D63C2-9855-8D4C-8DC5-767E36FE20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7280" y="1667149"/>
                      <a:ext cx="301895" cy="475249"/>
                    </a:xfrm>
                    <a:custGeom>
                      <a:avLst/>
                      <a:gdLst>
                        <a:gd name="connsiteX0" fmla="*/ 288923 w 301895"/>
                        <a:gd name="connsiteY0" fmla="*/ 475250 h 475249"/>
                        <a:gd name="connsiteX1" fmla="*/ 301896 w 301895"/>
                        <a:gd name="connsiteY1" fmla="*/ 467584 h 475249"/>
                        <a:gd name="connsiteX2" fmla="*/ 53362 w 301895"/>
                        <a:gd name="connsiteY2" fmla="*/ 37147 h 475249"/>
                        <a:gd name="connsiteX3" fmla="*/ 0 w 301895"/>
                        <a:gd name="connsiteY3" fmla="*/ 0 h 475249"/>
                        <a:gd name="connsiteX4" fmla="*/ 32135 w 301895"/>
                        <a:gd name="connsiteY4" fmla="*/ 30366 h 475249"/>
                        <a:gd name="connsiteX5" fmla="*/ 288923 w 301895"/>
                        <a:gd name="connsiteY5" fmla="*/ 475250 h 4752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01895" h="475249">
                          <a:moveTo>
                            <a:pt x="288923" y="475250"/>
                          </a:moveTo>
                          <a:lnTo>
                            <a:pt x="301896" y="467584"/>
                          </a:lnTo>
                          <a:lnTo>
                            <a:pt x="53362" y="37147"/>
                          </a:lnTo>
                          <a:cubicBezTo>
                            <a:pt x="41570" y="16510"/>
                            <a:pt x="21522" y="3833"/>
                            <a:pt x="0" y="0"/>
                          </a:cubicBezTo>
                          <a:cubicBezTo>
                            <a:pt x="12972" y="6486"/>
                            <a:pt x="24175" y="16805"/>
                            <a:pt x="32135" y="30366"/>
                          </a:cubicBezTo>
                          <a:lnTo>
                            <a:pt x="288923" y="475250"/>
                          </a:lnTo>
                          <a:close/>
                        </a:path>
                      </a:pathLst>
                    </a:custGeom>
                    <a:solidFill>
                      <a:srgbClr val="087379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</p:grpSp>
            <p:grpSp>
              <p:nvGrpSpPr>
                <p:cNvPr id="53" name="Graphique 2">
                  <a:extLst>
                    <a:ext uri="{FF2B5EF4-FFF2-40B4-BE49-F238E27FC236}">
                      <a16:creationId xmlns:a16="http://schemas.microsoft.com/office/drawing/2014/main" id="{CC5F8E86-ACE7-E332-9BB2-CBA0BB018B6D}"/>
                    </a:ext>
                  </a:extLst>
                </p:cNvPr>
                <p:cNvGrpSpPr/>
                <p:nvPr/>
              </p:nvGrpSpPr>
              <p:grpSpPr>
                <a:xfrm>
                  <a:off x="2513728" y="1344834"/>
                  <a:ext cx="769575" cy="887190"/>
                  <a:chOff x="2513728" y="1344834"/>
                  <a:chExt cx="769575" cy="887190"/>
                </a:xfrm>
              </p:grpSpPr>
              <p:grpSp>
                <p:nvGrpSpPr>
                  <p:cNvPr id="54" name="Graphique 2">
                    <a:extLst>
                      <a:ext uri="{FF2B5EF4-FFF2-40B4-BE49-F238E27FC236}">
                        <a16:creationId xmlns:a16="http://schemas.microsoft.com/office/drawing/2014/main" id="{95D54D08-29BA-7F35-E767-B745BF0617C0}"/>
                      </a:ext>
                    </a:extLst>
                  </p:cNvPr>
                  <p:cNvGrpSpPr/>
                  <p:nvPr/>
                </p:nvGrpSpPr>
                <p:grpSpPr>
                  <a:xfrm>
                    <a:off x="2513728" y="1344834"/>
                    <a:ext cx="769575" cy="613500"/>
                    <a:chOff x="2513728" y="1344834"/>
                    <a:chExt cx="769575" cy="613500"/>
                  </a:xfrm>
                </p:grpSpPr>
                <p:sp>
                  <p:nvSpPr>
                    <p:cNvPr id="59" name="Forme libre : forme 44">
                      <a:extLst>
                        <a:ext uri="{FF2B5EF4-FFF2-40B4-BE49-F238E27FC236}">
                          <a16:creationId xmlns:a16="http://schemas.microsoft.com/office/drawing/2014/main" id="{E9104A79-59F2-10C6-DD86-0BE8E67630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46815" y="1344834"/>
                      <a:ext cx="736487" cy="555518"/>
                    </a:xfrm>
                    <a:custGeom>
                      <a:avLst/>
                      <a:gdLst>
                        <a:gd name="connsiteX0" fmla="*/ 517114 w 736487"/>
                        <a:gd name="connsiteY0" fmla="*/ 62874 h 555518"/>
                        <a:gd name="connsiteX1" fmla="*/ 0 w 736487"/>
                        <a:gd name="connsiteY1" fmla="*/ 152499 h 555518"/>
                        <a:gd name="connsiteX2" fmla="*/ 697839 w 736487"/>
                        <a:gd name="connsiteY2" fmla="*/ 555518 h 555518"/>
                        <a:gd name="connsiteX3" fmla="*/ 517114 w 736487"/>
                        <a:gd name="connsiteY3" fmla="*/ 62874 h 5555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736487" h="555518">
                          <a:moveTo>
                            <a:pt x="517114" y="62874"/>
                          </a:moveTo>
                          <a:cubicBezTo>
                            <a:pt x="324302" y="-48273"/>
                            <a:pt x="92868" y="-8178"/>
                            <a:pt x="0" y="152499"/>
                          </a:cubicBezTo>
                          <a:lnTo>
                            <a:pt x="697839" y="555518"/>
                          </a:lnTo>
                          <a:cubicBezTo>
                            <a:pt x="791002" y="394841"/>
                            <a:pt x="709926" y="174316"/>
                            <a:pt x="517114" y="62874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60" name="Forme libre : forme 45">
                      <a:extLst>
                        <a:ext uri="{FF2B5EF4-FFF2-40B4-BE49-F238E27FC236}">
                          <a16:creationId xmlns:a16="http://schemas.microsoft.com/office/drawing/2014/main" id="{1D1D48EF-7AB0-4F5B-AAD5-AAE1E092C4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32678" y="1400042"/>
                      <a:ext cx="223421" cy="486747"/>
                    </a:xfrm>
                    <a:custGeom>
                      <a:avLst/>
                      <a:gdLst>
                        <a:gd name="connsiteX0" fmla="*/ 4422 w 223421"/>
                        <a:gd name="connsiteY0" fmla="*/ 2359 h 486747"/>
                        <a:gd name="connsiteX1" fmla="*/ 0 w 223421"/>
                        <a:gd name="connsiteY1" fmla="*/ 0 h 486747"/>
                        <a:gd name="connsiteX2" fmla="*/ 130311 w 223421"/>
                        <a:gd name="connsiteY2" fmla="*/ 452843 h 486747"/>
                        <a:gd name="connsiteX3" fmla="*/ 189275 w 223421"/>
                        <a:gd name="connsiteY3" fmla="*/ 486748 h 486747"/>
                        <a:gd name="connsiteX4" fmla="*/ 4422 w 223421"/>
                        <a:gd name="connsiteY4" fmla="*/ 2359 h 4867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3421" h="486747">
                          <a:moveTo>
                            <a:pt x="4422" y="2359"/>
                          </a:moveTo>
                          <a:cubicBezTo>
                            <a:pt x="2948" y="1474"/>
                            <a:pt x="1474" y="884"/>
                            <a:pt x="0" y="0"/>
                          </a:cubicBezTo>
                          <a:cubicBezTo>
                            <a:pt x="152422" y="117044"/>
                            <a:pt x="210796" y="308382"/>
                            <a:pt x="130311" y="452843"/>
                          </a:cubicBezTo>
                          <a:lnTo>
                            <a:pt x="189275" y="486748"/>
                          </a:lnTo>
                          <a:cubicBezTo>
                            <a:pt x="275067" y="326955"/>
                            <a:pt x="193992" y="111737"/>
                            <a:pt x="4422" y="2359"/>
                          </a:cubicBezTo>
                          <a:close/>
                        </a:path>
                      </a:pathLst>
                    </a:custGeom>
                    <a:solidFill>
                      <a:srgbClr val="37D3CF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61" name="Forme libre : forme 46">
                      <a:extLst>
                        <a:ext uri="{FF2B5EF4-FFF2-40B4-BE49-F238E27FC236}">
                          <a16:creationId xmlns:a16="http://schemas.microsoft.com/office/drawing/2014/main" id="{4EA3F140-258A-ECC8-F331-9A26872924F3}"/>
                        </a:ext>
                      </a:extLst>
                    </p:cNvPr>
                    <p:cNvSpPr/>
                    <p:nvPr/>
                  </p:nvSpPr>
                  <p:spPr>
                    <a:xfrm rot="-3599956">
                      <a:off x="2829282" y="1295859"/>
                      <a:ext cx="133845" cy="806019"/>
                    </a:xfrm>
                    <a:custGeom>
                      <a:avLst/>
                      <a:gdLst>
                        <a:gd name="connsiteX0" fmla="*/ 133845 w 133845"/>
                        <a:gd name="connsiteY0" fmla="*/ 403010 h 806019"/>
                        <a:gd name="connsiteX1" fmla="*/ 66923 w 133845"/>
                        <a:gd name="connsiteY1" fmla="*/ 806020 h 806019"/>
                        <a:gd name="connsiteX2" fmla="*/ 0 w 133845"/>
                        <a:gd name="connsiteY2" fmla="*/ 403010 h 806019"/>
                        <a:gd name="connsiteX3" fmla="*/ 66923 w 133845"/>
                        <a:gd name="connsiteY3" fmla="*/ 0 h 806019"/>
                        <a:gd name="connsiteX4" fmla="*/ 133845 w 133845"/>
                        <a:gd name="connsiteY4" fmla="*/ 403010 h 80601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33845" h="806019">
                          <a:moveTo>
                            <a:pt x="133845" y="403010"/>
                          </a:moveTo>
                          <a:cubicBezTo>
                            <a:pt x="133845" y="625586"/>
                            <a:pt x="103883" y="806020"/>
                            <a:pt x="66923" y="806020"/>
                          </a:cubicBezTo>
                          <a:cubicBezTo>
                            <a:pt x="29962" y="806020"/>
                            <a:pt x="0" y="625586"/>
                            <a:pt x="0" y="403010"/>
                          </a:cubicBezTo>
                          <a:cubicBezTo>
                            <a:pt x="0" y="180434"/>
                            <a:pt x="29962" y="0"/>
                            <a:pt x="66923" y="0"/>
                          </a:cubicBezTo>
                          <a:cubicBezTo>
                            <a:pt x="103883" y="0"/>
                            <a:pt x="133845" y="180434"/>
                            <a:pt x="133845" y="403010"/>
                          </a:cubicBezTo>
                          <a:close/>
                        </a:path>
                      </a:pathLst>
                    </a:custGeom>
                    <a:solidFill>
                      <a:srgbClr val="05535F"/>
                    </a:solidFill>
                    <a:ln w="2945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  <p:grpSp>
                <p:nvGrpSpPr>
                  <p:cNvPr id="56" name="Graphique 2">
                    <a:extLst>
                      <a:ext uri="{FF2B5EF4-FFF2-40B4-BE49-F238E27FC236}">
                        <a16:creationId xmlns:a16="http://schemas.microsoft.com/office/drawing/2014/main" id="{56095E20-2DB4-7B07-C074-35EF3A904892}"/>
                      </a:ext>
                    </a:extLst>
                  </p:cNvPr>
                  <p:cNvGrpSpPr/>
                  <p:nvPr/>
                </p:nvGrpSpPr>
                <p:grpSpPr>
                  <a:xfrm>
                    <a:off x="2543277" y="1651948"/>
                    <a:ext cx="412322" cy="580075"/>
                    <a:chOff x="2543277" y="1651948"/>
                    <a:chExt cx="412322" cy="580075"/>
                  </a:xfrm>
                </p:grpSpPr>
                <p:sp>
                  <p:nvSpPr>
                    <p:cNvPr id="57" name="Forme libre : forme 42">
                      <a:extLst>
                        <a:ext uri="{FF2B5EF4-FFF2-40B4-BE49-F238E27FC236}">
                          <a16:creationId xmlns:a16="http://schemas.microsoft.com/office/drawing/2014/main" id="{F25030C5-4627-1A62-3088-8DFDE587D1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43277" y="1651948"/>
                      <a:ext cx="412322" cy="580075"/>
                    </a:xfrm>
                    <a:custGeom>
                      <a:avLst/>
                      <a:gdLst>
                        <a:gd name="connsiteX0" fmla="*/ 134438 w 412322"/>
                        <a:gd name="connsiteY0" fmla="*/ 580075 h 580075"/>
                        <a:gd name="connsiteX1" fmla="*/ 0 w 412322"/>
                        <a:gd name="connsiteY1" fmla="*/ 502538 h 580075"/>
                        <a:gd name="connsiteX2" fmla="*/ 267697 w 412322"/>
                        <a:gd name="connsiteY2" fmla="*/ 38786 h 580075"/>
                        <a:gd name="connsiteX3" fmla="*/ 373537 w 412322"/>
                        <a:gd name="connsiteY3" fmla="*/ 10483 h 580075"/>
                        <a:gd name="connsiteX4" fmla="*/ 401840 w 412322"/>
                        <a:gd name="connsiteY4" fmla="*/ 116324 h 580075"/>
                        <a:gd name="connsiteX5" fmla="*/ 134438 w 412322"/>
                        <a:gd name="connsiteY5" fmla="*/ 580075 h 5800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12322" h="580075">
                          <a:moveTo>
                            <a:pt x="134438" y="580075"/>
                          </a:moveTo>
                          <a:lnTo>
                            <a:pt x="0" y="502538"/>
                          </a:lnTo>
                          <a:lnTo>
                            <a:pt x="267697" y="38786"/>
                          </a:lnTo>
                          <a:cubicBezTo>
                            <a:pt x="289218" y="1639"/>
                            <a:pt x="336684" y="-11038"/>
                            <a:pt x="373537" y="10483"/>
                          </a:cubicBezTo>
                          <a:cubicBezTo>
                            <a:pt x="410684" y="32005"/>
                            <a:pt x="423361" y="79471"/>
                            <a:pt x="401840" y="116324"/>
                          </a:cubicBezTo>
                          <a:lnTo>
                            <a:pt x="134438" y="580075"/>
                          </a:lnTo>
                          <a:close/>
                        </a:path>
                      </a:pathLst>
                    </a:custGeom>
                    <a:solidFill>
                      <a:srgbClr val="044856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58" name="Forme libre : forme 43">
                      <a:extLst>
                        <a:ext uri="{FF2B5EF4-FFF2-40B4-BE49-F238E27FC236}">
                          <a16:creationId xmlns:a16="http://schemas.microsoft.com/office/drawing/2014/main" id="{CD64AA14-EB9C-73CE-A7BE-7E8B762025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66807" y="1701348"/>
                      <a:ext cx="271718" cy="495297"/>
                    </a:xfrm>
                    <a:custGeom>
                      <a:avLst/>
                      <a:gdLst>
                        <a:gd name="connsiteX0" fmla="*/ 0 w 271718"/>
                        <a:gd name="connsiteY0" fmla="*/ 487632 h 495297"/>
                        <a:gd name="connsiteX1" fmla="*/ 12972 w 271718"/>
                        <a:gd name="connsiteY1" fmla="*/ 495297 h 495297"/>
                        <a:gd name="connsiteX2" fmla="*/ 261505 w 271718"/>
                        <a:gd name="connsiteY2" fmla="*/ 64860 h 495297"/>
                        <a:gd name="connsiteX3" fmla="*/ 267107 w 271718"/>
                        <a:gd name="connsiteY3" fmla="*/ 0 h 495297"/>
                        <a:gd name="connsiteX4" fmla="*/ 256788 w 271718"/>
                        <a:gd name="connsiteY4" fmla="*/ 43044 h 495297"/>
                        <a:gd name="connsiteX5" fmla="*/ 0 w 271718"/>
                        <a:gd name="connsiteY5" fmla="*/ 487632 h 4952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1718" h="495297">
                          <a:moveTo>
                            <a:pt x="0" y="487632"/>
                          </a:moveTo>
                          <a:lnTo>
                            <a:pt x="12972" y="495297"/>
                          </a:lnTo>
                          <a:lnTo>
                            <a:pt x="261505" y="64860"/>
                          </a:lnTo>
                          <a:cubicBezTo>
                            <a:pt x="273298" y="44223"/>
                            <a:pt x="274477" y="20637"/>
                            <a:pt x="267107" y="0"/>
                          </a:cubicBezTo>
                          <a:cubicBezTo>
                            <a:pt x="267991" y="14446"/>
                            <a:pt x="264748" y="29482"/>
                            <a:pt x="256788" y="43044"/>
                          </a:cubicBezTo>
                          <a:lnTo>
                            <a:pt x="0" y="487632"/>
                          </a:lnTo>
                          <a:close/>
                        </a:path>
                      </a:pathLst>
                    </a:custGeom>
                    <a:solidFill>
                      <a:srgbClr val="087379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</p:grpSp>
          </p:grpSp>
          <p:grpSp>
            <p:nvGrpSpPr>
              <p:cNvPr id="23" name="Graphique 2">
                <a:extLst>
                  <a:ext uri="{FF2B5EF4-FFF2-40B4-BE49-F238E27FC236}">
                    <a16:creationId xmlns:a16="http://schemas.microsoft.com/office/drawing/2014/main" id="{4F0C0E1F-B05E-5185-ADDC-0FA02DB36CB1}"/>
                  </a:ext>
                </a:extLst>
              </p:cNvPr>
              <p:cNvGrpSpPr/>
              <p:nvPr/>
            </p:nvGrpSpPr>
            <p:grpSpPr>
              <a:xfrm>
                <a:off x="1307097" y="3544562"/>
                <a:ext cx="1765971" cy="705798"/>
                <a:chOff x="1307097" y="3544562"/>
                <a:chExt cx="1765971" cy="705798"/>
              </a:xfrm>
            </p:grpSpPr>
            <p:grpSp>
              <p:nvGrpSpPr>
                <p:cNvPr id="46" name="Graphique 2">
                  <a:extLst>
                    <a:ext uri="{FF2B5EF4-FFF2-40B4-BE49-F238E27FC236}">
                      <a16:creationId xmlns:a16="http://schemas.microsoft.com/office/drawing/2014/main" id="{B56CFEC9-99A8-B79B-03F5-49598E442ADD}"/>
                    </a:ext>
                  </a:extLst>
                </p:cNvPr>
                <p:cNvGrpSpPr/>
                <p:nvPr/>
              </p:nvGrpSpPr>
              <p:grpSpPr>
                <a:xfrm>
                  <a:off x="1307097" y="3544562"/>
                  <a:ext cx="737344" cy="705798"/>
                  <a:chOff x="1307097" y="3544562"/>
                  <a:chExt cx="737344" cy="705798"/>
                </a:xfrm>
              </p:grpSpPr>
              <p:sp>
                <p:nvSpPr>
                  <p:cNvPr id="50" name="Forme libre : forme 36">
                    <a:extLst>
                      <a:ext uri="{FF2B5EF4-FFF2-40B4-BE49-F238E27FC236}">
                        <a16:creationId xmlns:a16="http://schemas.microsoft.com/office/drawing/2014/main" id="{260E9540-8D80-98CA-A591-8CBC969C8508}"/>
                      </a:ext>
                    </a:extLst>
                  </p:cNvPr>
                  <p:cNvSpPr/>
                  <p:nvPr/>
                </p:nvSpPr>
                <p:spPr>
                  <a:xfrm>
                    <a:off x="1351910" y="3575813"/>
                    <a:ext cx="692531" cy="674548"/>
                  </a:xfrm>
                  <a:custGeom>
                    <a:avLst/>
                    <a:gdLst>
                      <a:gd name="connsiteX0" fmla="*/ 692532 w 692531"/>
                      <a:gd name="connsiteY0" fmla="*/ 63386 h 674548"/>
                      <a:gd name="connsiteX1" fmla="*/ 438692 w 692531"/>
                      <a:gd name="connsiteY1" fmla="*/ 0 h 674548"/>
                      <a:gd name="connsiteX2" fmla="*/ 0 w 692531"/>
                      <a:gd name="connsiteY2" fmla="*/ 674548 h 674548"/>
                      <a:gd name="connsiteX3" fmla="*/ 65745 w 692531"/>
                      <a:gd name="connsiteY3" fmla="*/ 674548 h 674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2531" h="674548">
                        <a:moveTo>
                          <a:pt x="692532" y="63386"/>
                        </a:moveTo>
                        <a:lnTo>
                          <a:pt x="438692" y="0"/>
                        </a:lnTo>
                        <a:lnTo>
                          <a:pt x="0" y="674548"/>
                        </a:lnTo>
                        <a:lnTo>
                          <a:pt x="65745" y="67454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 dirty="0"/>
                  </a:p>
                </p:txBody>
              </p:sp>
              <p:sp>
                <p:nvSpPr>
                  <p:cNvPr id="51" name="Forme libre : forme 37">
                    <a:extLst>
                      <a:ext uri="{FF2B5EF4-FFF2-40B4-BE49-F238E27FC236}">
                        <a16:creationId xmlns:a16="http://schemas.microsoft.com/office/drawing/2014/main" id="{763085F2-2670-D6E7-A5AE-6597D588A384}"/>
                      </a:ext>
                    </a:extLst>
                  </p:cNvPr>
                  <p:cNvSpPr/>
                  <p:nvPr/>
                </p:nvSpPr>
                <p:spPr>
                  <a:xfrm>
                    <a:off x="1307097" y="3544562"/>
                    <a:ext cx="483504" cy="705798"/>
                  </a:xfrm>
                  <a:custGeom>
                    <a:avLst/>
                    <a:gdLst>
                      <a:gd name="connsiteX0" fmla="*/ 358501 w 483504"/>
                      <a:gd name="connsiteY0" fmla="*/ 0 h 705798"/>
                      <a:gd name="connsiteX1" fmla="*/ 0 w 483504"/>
                      <a:gd name="connsiteY1" fmla="*/ 705799 h 705798"/>
                      <a:gd name="connsiteX2" fmla="*/ 44813 w 483504"/>
                      <a:gd name="connsiteY2" fmla="*/ 705799 h 705798"/>
                      <a:gd name="connsiteX3" fmla="*/ 483505 w 483504"/>
                      <a:gd name="connsiteY3" fmla="*/ 31251 h 705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83504" h="705798">
                        <a:moveTo>
                          <a:pt x="358501" y="0"/>
                        </a:moveTo>
                        <a:lnTo>
                          <a:pt x="0" y="705799"/>
                        </a:lnTo>
                        <a:lnTo>
                          <a:pt x="44813" y="705799"/>
                        </a:lnTo>
                        <a:lnTo>
                          <a:pt x="483505" y="31251"/>
                        </a:ln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</p:grpSp>
            <p:grpSp>
              <p:nvGrpSpPr>
                <p:cNvPr id="47" name="Graphique 2">
                  <a:extLst>
                    <a:ext uri="{FF2B5EF4-FFF2-40B4-BE49-F238E27FC236}">
                      <a16:creationId xmlns:a16="http://schemas.microsoft.com/office/drawing/2014/main" id="{4ACC5696-077E-888F-188A-CC4005830939}"/>
                    </a:ext>
                  </a:extLst>
                </p:cNvPr>
                <p:cNvGrpSpPr/>
                <p:nvPr/>
              </p:nvGrpSpPr>
              <p:grpSpPr>
                <a:xfrm>
                  <a:off x="2335429" y="3544562"/>
                  <a:ext cx="737639" cy="705798"/>
                  <a:chOff x="2335429" y="3544562"/>
                  <a:chExt cx="737639" cy="705798"/>
                </a:xfrm>
              </p:grpSpPr>
              <p:sp>
                <p:nvSpPr>
                  <p:cNvPr id="48" name="Forme libre : forme 34">
                    <a:extLst>
                      <a:ext uri="{FF2B5EF4-FFF2-40B4-BE49-F238E27FC236}">
                        <a16:creationId xmlns:a16="http://schemas.microsoft.com/office/drawing/2014/main" id="{0BDE5451-7401-34BB-97A8-68BE9383ED98}"/>
                      </a:ext>
                    </a:extLst>
                  </p:cNvPr>
                  <p:cNvSpPr/>
                  <p:nvPr/>
                </p:nvSpPr>
                <p:spPr>
                  <a:xfrm>
                    <a:off x="2335429" y="3575813"/>
                    <a:ext cx="692826" cy="674548"/>
                  </a:xfrm>
                  <a:custGeom>
                    <a:avLst/>
                    <a:gdLst>
                      <a:gd name="connsiteX0" fmla="*/ 0 w 692826"/>
                      <a:gd name="connsiteY0" fmla="*/ 63386 h 674548"/>
                      <a:gd name="connsiteX1" fmla="*/ 254135 w 692826"/>
                      <a:gd name="connsiteY1" fmla="*/ 0 h 674548"/>
                      <a:gd name="connsiteX2" fmla="*/ 692827 w 692826"/>
                      <a:gd name="connsiteY2" fmla="*/ 674548 h 674548"/>
                      <a:gd name="connsiteX3" fmla="*/ 627082 w 692826"/>
                      <a:gd name="connsiteY3" fmla="*/ 674548 h 674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92826" h="674548">
                        <a:moveTo>
                          <a:pt x="0" y="63386"/>
                        </a:moveTo>
                        <a:lnTo>
                          <a:pt x="254135" y="0"/>
                        </a:lnTo>
                        <a:lnTo>
                          <a:pt x="692827" y="674548"/>
                        </a:lnTo>
                        <a:lnTo>
                          <a:pt x="627082" y="67454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9" name="Forme libre : forme 35">
                    <a:extLst>
                      <a:ext uri="{FF2B5EF4-FFF2-40B4-BE49-F238E27FC236}">
                        <a16:creationId xmlns:a16="http://schemas.microsoft.com/office/drawing/2014/main" id="{1C48F655-8586-A64C-34F5-299EF0FD4411}"/>
                      </a:ext>
                    </a:extLst>
                  </p:cNvPr>
                  <p:cNvSpPr/>
                  <p:nvPr/>
                </p:nvSpPr>
                <p:spPr>
                  <a:xfrm>
                    <a:off x="2589564" y="3544562"/>
                    <a:ext cx="483504" cy="705798"/>
                  </a:xfrm>
                  <a:custGeom>
                    <a:avLst/>
                    <a:gdLst>
                      <a:gd name="connsiteX0" fmla="*/ 125004 w 483504"/>
                      <a:gd name="connsiteY0" fmla="*/ 0 h 705798"/>
                      <a:gd name="connsiteX1" fmla="*/ 483505 w 483504"/>
                      <a:gd name="connsiteY1" fmla="*/ 705799 h 705798"/>
                      <a:gd name="connsiteX2" fmla="*/ 438692 w 483504"/>
                      <a:gd name="connsiteY2" fmla="*/ 705799 h 705798"/>
                      <a:gd name="connsiteX3" fmla="*/ 0 w 483504"/>
                      <a:gd name="connsiteY3" fmla="*/ 31251 h 705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83504" h="705798">
                        <a:moveTo>
                          <a:pt x="125004" y="0"/>
                        </a:moveTo>
                        <a:lnTo>
                          <a:pt x="483505" y="705799"/>
                        </a:lnTo>
                        <a:lnTo>
                          <a:pt x="438692" y="705799"/>
                        </a:lnTo>
                        <a:lnTo>
                          <a:pt x="0" y="31251"/>
                        </a:ln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</p:grpSp>
          </p:grpSp>
          <p:sp>
            <p:nvSpPr>
              <p:cNvPr id="24" name="Forme libre : forme 13">
                <a:extLst>
                  <a:ext uri="{FF2B5EF4-FFF2-40B4-BE49-F238E27FC236}">
                    <a16:creationId xmlns:a16="http://schemas.microsoft.com/office/drawing/2014/main" id="{5F819678-E2EC-AC0F-676C-F30F859B7096}"/>
                  </a:ext>
                </a:extLst>
              </p:cNvPr>
              <p:cNvSpPr/>
              <p:nvPr/>
            </p:nvSpPr>
            <p:spPr>
              <a:xfrm>
                <a:off x="981026" y="1717268"/>
                <a:ext cx="2418112" cy="2418112"/>
              </a:xfrm>
              <a:custGeom>
                <a:avLst/>
                <a:gdLst>
                  <a:gd name="connsiteX0" fmla="*/ 2418113 w 2418112"/>
                  <a:gd name="connsiteY0" fmla="*/ 1209056 h 2418112"/>
                  <a:gd name="connsiteX1" fmla="*/ 1209056 w 2418112"/>
                  <a:gd name="connsiteY1" fmla="*/ 2418113 h 2418112"/>
                  <a:gd name="connsiteX2" fmla="*/ 0 w 2418112"/>
                  <a:gd name="connsiteY2" fmla="*/ 1209056 h 2418112"/>
                  <a:gd name="connsiteX3" fmla="*/ 1209056 w 2418112"/>
                  <a:gd name="connsiteY3" fmla="*/ 0 h 2418112"/>
                  <a:gd name="connsiteX4" fmla="*/ 2418113 w 2418112"/>
                  <a:gd name="connsiteY4" fmla="*/ 1209056 h 241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18112" h="2418112">
                    <a:moveTo>
                      <a:pt x="2418113" y="1209056"/>
                    </a:moveTo>
                    <a:cubicBezTo>
                      <a:pt x="2418113" y="1876800"/>
                      <a:pt x="1876800" y="2418113"/>
                      <a:pt x="1209056" y="2418113"/>
                    </a:cubicBezTo>
                    <a:cubicBezTo>
                      <a:pt x="541313" y="2418113"/>
                      <a:pt x="0" y="1876800"/>
                      <a:pt x="0" y="1209056"/>
                    </a:cubicBezTo>
                    <a:cubicBezTo>
                      <a:pt x="0" y="541313"/>
                      <a:pt x="541313" y="0"/>
                      <a:pt x="1209056" y="0"/>
                    </a:cubicBezTo>
                    <a:cubicBezTo>
                      <a:pt x="1876800" y="0"/>
                      <a:pt x="2418113" y="541313"/>
                      <a:pt x="2418113" y="1209056"/>
                    </a:cubicBezTo>
                    <a:close/>
                  </a:path>
                </a:pathLst>
              </a:custGeom>
              <a:solidFill>
                <a:schemeClr val="bg1"/>
              </a:solidFill>
              <a:ln w="294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  <p:sp>
            <p:nvSpPr>
              <p:cNvPr id="25" name="Forme libre : forme 14">
                <a:extLst>
                  <a:ext uri="{FF2B5EF4-FFF2-40B4-BE49-F238E27FC236}">
                    <a16:creationId xmlns:a16="http://schemas.microsoft.com/office/drawing/2014/main" id="{CB1C4957-B282-953F-22FD-4656A8ADBD7F}"/>
                  </a:ext>
                </a:extLst>
              </p:cNvPr>
              <p:cNvSpPr/>
              <p:nvPr/>
            </p:nvSpPr>
            <p:spPr>
              <a:xfrm>
                <a:off x="1018763" y="1755005"/>
                <a:ext cx="2342638" cy="2342639"/>
              </a:xfrm>
              <a:custGeom>
                <a:avLst/>
                <a:gdLst>
                  <a:gd name="connsiteX0" fmla="*/ 2342639 w 2342638"/>
                  <a:gd name="connsiteY0" fmla="*/ 1171320 h 2342639"/>
                  <a:gd name="connsiteX1" fmla="*/ 1171319 w 2342638"/>
                  <a:gd name="connsiteY1" fmla="*/ 2342639 h 2342639"/>
                  <a:gd name="connsiteX2" fmla="*/ 0 w 2342638"/>
                  <a:gd name="connsiteY2" fmla="*/ 1171320 h 2342639"/>
                  <a:gd name="connsiteX3" fmla="*/ 1171319 w 2342638"/>
                  <a:gd name="connsiteY3" fmla="*/ 0 h 2342639"/>
                  <a:gd name="connsiteX4" fmla="*/ 2342639 w 2342638"/>
                  <a:gd name="connsiteY4" fmla="*/ 1171320 h 234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42638" h="2342639">
                    <a:moveTo>
                      <a:pt x="2342639" y="1171320"/>
                    </a:moveTo>
                    <a:cubicBezTo>
                      <a:pt x="2342639" y="1818221"/>
                      <a:pt x="1818221" y="2342639"/>
                      <a:pt x="1171319" y="2342639"/>
                    </a:cubicBezTo>
                    <a:cubicBezTo>
                      <a:pt x="524417" y="2342639"/>
                      <a:pt x="0" y="1818221"/>
                      <a:pt x="0" y="1171320"/>
                    </a:cubicBezTo>
                    <a:cubicBezTo>
                      <a:pt x="0" y="524418"/>
                      <a:pt x="524417" y="0"/>
                      <a:pt x="1171319" y="0"/>
                    </a:cubicBezTo>
                    <a:cubicBezTo>
                      <a:pt x="1818221" y="0"/>
                      <a:pt x="2342639" y="524418"/>
                      <a:pt x="2342639" y="1171320"/>
                    </a:cubicBezTo>
                    <a:close/>
                  </a:path>
                </a:pathLst>
              </a:custGeom>
              <a:solidFill>
                <a:srgbClr val="098385"/>
              </a:solidFill>
              <a:ln w="294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6" name="Forme libre : forme 15">
                <a:extLst>
                  <a:ext uri="{FF2B5EF4-FFF2-40B4-BE49-F238E27FC236}">
                    <a16:creationId xmlns:a16="http://schemas.microsoft.com/office/drawing/2014/main" id="{228A2DFE-73F9-0C04-D752-E7760D980031}"/>
                  </a:ext>
                </a:extLst>
              </p:cNvPr>
              <p:cNvSpPr/>
              <p:nvPr/>
            </p:nvSpPr>
            <p:spPr>
              <a:xfrm>
                <a:off x="1140524" y="1876766"/>
                <a:ext cx="2099117" cy="2099117"/>
              </a:xfrm>
              <a:custGeom>
                <a:avLst/>
                <a:gdLst>
                  <a:gd name="connsiteX0" fmla="*/ 2099118 w 2099117"/>
                  <a:gd name="connsiteY0" fmla="*/ 1049559 h 2099117"/>
                  <a:gd name="connsiteX1" fmla="*/ 1049559 w 2099117"/>
                  <a:gd name="connsiteY1" fmla="*/ 2099118 h 2099117"/>
                  <a:gd name="connsiteX2" fmla="*/ 0 w 2099117"/>
                  <a:gd name="connsiteY2" fmla="*/ 1049559 h 2099117"/>
                  <a:gd name="connsiteX3" fmla="*/ 1049559 w 2099117"/>
                  <a:gd name="connsiteY3" fmla="*/ 0 h 2099117"/>
                  <a:gd name="connsiteX4" fmla="*/ 2099118 w 2099117"/>
                  <a:gd name="connsiteY4" fmla="*/ 1049559 h 2099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9117" h="2099117">
                    <a:moveTo>
                      <a:pt x="2099118" y="1049559"/>
                    </a:moveTo>
                    <a:cubicBezTo>
                      <a:pt x="2099118" y="1629214"/>
                      <a:pt x="1629214" y="2099118"/>
                      <a:pt x="1049559" y="2099118"/>
                    </a:cubicBezTo>
                    <a:cubicBezTo>
                      <a:pt x="469904" y="2099118"/>
                      <a:pt x="0" y="1629214"/>
                      <a:pt x="0" y="1049559"/>
                    </a:cubicBezTo>
                    <a:cubicBezTo>
                      <a:pt x="0" y="469903"/>
                      <a:pt x="469904" y="0"/>
                      <a:pt x="1049559" y="0"/>
                    </a:cubicBezTo>
                    <a:cubicBezTo>
                      <a:pt x="1629214" y="0"/>
                      <a:pt x="2099118" y="469903"/>
                      <a:pt x="2099118" y="1049559"/>
                    </a:cubicBezTo>
                    <a:close/>
                  </a:path>
                </a:pathLst>
              </a:custGeom>
              <a:solidFill>
                <a:srgbClr val="0B9392"/>
              </a:solidFill>
              <a:ln w="294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7" name="Forme libre : forme 16">
                <a:extLst>
                  <a:ext uri="{FF2B5EF4-FFF2-40B4-BE49-F238E27FC236}">
                    <a16:creationId xmlns:a16="http://schemas.microsoft.com/office/drawing/2014/main" id="{8D5F3481-3816-B8ED-C6D3-175C3C9A8947}"/>
                  </a:ext>
                </a:extLst>
              </p:cNvPr>
              <p:cNvSpPr/>
              <p:nvPr/>
            </p:nvSpPr>
            <p:spPr>
              <a:xfrm>
                <a:off x="1173544" y="1909785"/>
                <a:ext cx="2033076" cy="2033075"/>
              </a:xfrm>
              <a:custGeom>
                <a:avLst/>
                <a:gdLst>
                  <a:gd name="connsiteX0" fmla="*/ 2033078 w 2033077"/>
                  <a:gd name="connsiteY0" fmla="*/ 1016539 h 2033078"/>
                  <a:gd name="connsiteX1" fmla="*/ 1016539 w 2033077"/>
                  <a:gd name="connsiteY1" fmla="*/ 2033078 h 2033078"/>
                  <a:gd name="connsiteX2" fmla="*/ 0 w 2033077"/>
                  <a:gd name="connsiteY2" fmla="*/ 1016539 h 2033078"/>
                  <a:gd name="connsiteX3" fmla="*/ 1016539 w 2033077"/>
                  <a:gd name="connsiteY3" fmla="*/ 0 h 2033078"/>
                  <a:gd name="connsiteX4" fmla="*/ 2033078 w 2033077"/>
                  <a:gd name="connsiteY4" fmla="*/ 1016539 h 203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3077" h="2033078">
                    <a:moveTo>
                      <a:pt x="2033078" y="1016539"/>
                    </a:moveTo>
                    <a:cubicBezTo>
                      <a:pt x="2033078" y="1577958"/>
                      <a:pt x="1577958" y="2033078"/>
                      <a:pt x="1016539" y="2033078"/>
                    </a:cubicBezTo>
                    <a:cubicBezTo>
                      <a:pt x="455120" y="2033078"/>
                      <a:pt x="0" y="1577958"/>
                      <a:pt x="0" y="1016539"/>
                    </a:cubicBezTo>
                    <a:cubicBezTo>
                      <a:pt x="0" y="455120"/>
                      <a:pt x="455120" y="0"/>
                      <a:pt x="1016539" y="0"/>
                    </a:cubicBezTo>
                    <a:cubicBezTo>
                      <a:pt x="1577958" y="0"/>
                      <a:pt x="2033078" y="455120"/>
                      <a:pt x="2033078" y="1016539"/>
                    </a:cubicBezTo>
                    <a:close/>
                  </a:path>
                </a:pathLst>
              </a:custGeom>
              <a:solidFill>
                <a:schemeClr val="bg1"/>
              </a:solidFill>
              <a:ln w="294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8" name="Forme libre : forme 17">
                <a:extLst>
                  <a:ext uri="{FF2B5EF4-FFF2-40B4-BE49-F238E27FC236}">
                    <a16:creationId xmlns:a16="http://schemas.microsoft.com/office/drawing/2014/main" id="{25472FB6-1CED-7AA4-6CAA-97FEFA805870}"/>
                  </a:ext>
                </a:extLst>
              </p:cNvPr>
              <p:cNvSpPr/>
              <p:nvPr/>
            </p:nvSpPr>
            <p:spPr>
              <a:xfrm>
                <a:off x="1173839" y="2127068"/>
                <a:ext cx="1788377" cy="1815795"/>
              </a:xfrm>
              <a:custGeom>
                <a:avLst/>
                <a:gdLst>
                  <a:gd name="connsiteX0" fmla="*/ 1160706 w 1788377"/>
                  <a:gd name="connsiteY0" fmla="*/ 1677525 h 1815795"/>
                  <a:gd name="connsiteX1" fmla="*/ 144167 w 1788377"/>
                  <a:gd name="connsiteY1" fmla="*/ 660986 h 1815795"/>
                  <a:gd name="connsiteX2" fmla="*/ 388867 w 1788377"/>
                  <a:gd name="connsiteY2" fmla="*/ 0 h 1815795"/>
                  <a:gd name="connsiteX3" fmla="*/ 0 w 1788377"/>
                  <a:gd name="connsiteY3" fmla="*/ 799257 h 1815795"/>
                  <a:gd name="connsiteX4" fmla="*/ 1016539 w 1788377"/>
                  <a:gd name="connsiteY4" fmla="*/ 1815796 h 1815795"/>
                  <a:gd name="connsiteX5" fmla="*/ 1788377 w 1788377"/>
                  <a:gd name="connsiteY5" fmla="*/ 1460243 h 1815795"/>
                  <a:gd name="connsiteX6" fmla="*/ 1160706 w 1788377"/>
                  <a:gd name="connsiteY6" fmla="*/ 1677525 h 1815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88377" h="1815795">
                    <a:moveTo>
                      <a:pt x="1160706" y="1677525"/>
                    </a:moveTo>
                    <a:cubicBezTo>
                      <a:pt x="599369" y="1677525"/>
                      <a:pt x="144167" y="1222323"/>
                      <a:pt x="144167" y="660986"/>
                    </a:cubicBezTo>
                    <a:cubicBezTo>
                      <a:pt x="144167" y="408620"/>
                      <a:pt x="236445" y="177776"/>
                      <a:pt x="388867" y="0"/>
                    </a:cubicBezTo>
                    <a:cubicBezTo>
                      <a:pt x="152127" y="186031"/>
                      <a:pt x="0" y="474955"/>
                      <a:pt x="0" y="799257"/>
                    </a:cubicBezTo>
                    <a:cubicBezTo>
                      <a:pt x="0" y="1360594"/>
                      <a:pt x="455202" y="1815796"/>
                      <a:pt x="1016539" y="1815796"/>
                    </a:cubicBezTo>
                    <a:cubicBezTo>
                      <a:pt x="1325510" y="1815796"/>
                      <a:pt x="1602051" y="1677820"/>
                      <a:pt x="1788377" y="1460243"/>
                    </a:cubicBezTo>
                    <a:cubicBezTo>
                      <a:pt x="1615318" y="1596155"/>
                      <a:pt x="1397446" y="1677525"/>
                      <a:pt x="1160706" y="1677525"/>
                    </a:cubicBezTo>
                    <a:close/>
                  </a:path>
                </a:pathLst>
              </a:custGeom>
              <a:solidFill>
                <a:srgbClr val="EAE2D8"/>
              </a:solidFill>
              <a:ln w="294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grpSp>
            <p:nvGrpSpPr>
              <p:cNvPr id="29" name="Graphique 2">
                <a:extLst>
                  <a:ext uri="{FF2B5EF4-FFF2-40B4-BE49-F238E27FC236}">
                    <a16:creationId xmlns:a16="http://schemas.microsoft.com/office/drawing/2014/main" id="{C878383D-5D04-DBB1-6768-D61024E94CD3}"/>
                  </a:ext>
                </a:extLst>
              </p:cNvPr>
              <p:cNvGrpSpPr/>
              <p:nvPr/>
            </p:nvGrpSpPr>
            <p:grpSpPr>
              <a:xfrm>
                <a:off x="1233687" y="1970224"/>
                <a:ext cx="1912791" cy="1912496"/>
                <a:chOff x="1233687" y="1970224"/>
                <a:chExt cx="1912791" cy="1912496"/>
              </a:xfrm>
              <a:solidFill>
                <a:srgbClr val="07636C"/>
              </a:solidFill>
            </p:grpSpPr>
            <p:sp>
              <p:nvSpPr>
                <p:cNvPr id="40" name="Forme libre : forme 28">
                  <a:extLst>
                    <a:ext uri="{FF2B5EF4-FFF2-40B4-BE49-F238E27FC236}">
                      <a16:creationId xmlns:a16="http://schemas.microsoft.com/office/drawing/2014/main" id="{032A868E-105C-D391-AF3B-B21278F8DBDA}"/>
                    </a:ext>
                  </a:extLst>
                </p:cNvPr>
                <p:cNvSpPr/>
                <p:nvPr/>
              </p:nvSpPr>
              <p:spPr>
                <a:xfrm>
                  <a:off x="2129940" y="1970224"/>
                  <a:ext cx="120286" cy="120286"/>
                </a:xfrm>
                <a:custGeom>
                  <a:avLst/>
                  <a:gdLst>
                    <a:gd name="connsiteX0" fmla="*/ 60143 w 120286"/>
                    <a:gd name="connsiteY0" fmla="*/ 120286 h 120286"/>
                    <a:gd name="connsiteX1" fmla="*/ 0 w 120286"/>
                    <a:gd name="connsiteY1" fmla="*/ 60143 h 120286"/>
                    <a:gd name="connsiteX2" fmla="*/ 60143 w 120286"/>
                    <a:gd name="connsiteY2" fmla="*/ 0 h 120286"/>
                    <a:gd name="connsiteX3" fmla="*/ 120286 w 120286"/>
                    <a:gd name="connsiteY3" fmla="*/ 60143 h 120286"/>
                    <a:gd name="connsiteX4" fmla="*/ 60143 w 120286"/>
                    <a:gd name="connsiteY4" fmla="*/ 120286 h 120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286" h="120286">
                      <a:moveTo>
                        <a:pt x="60143" y="120286"/>
                      </a:moveTo>
                      <a:cubicBezTo>
                        <a:pt x="27123" y="120286"/>
                        <a:pt x="0" y="93163"/>
                        <a:pt x="0" y="60143"/>
                      </a:cubicBezTo>
                      <a:cubicBezTo>
                        <a:pt x="0" y="27123"/>
                        <a:pt x="27123" y="0"/>
                        <a:pt x="60143" y="0"/>
                      </a:cubicBezTo>
                      <a:cubicBezTo>
                        <a:pt x="93163" y="0"/>
                        <a:pt x="120286" y="27123"/>
                        <a:pt x="120286" y="60143"/>
                      </a:cubicBezTo>
                      <a:cubicBezTo>
                        <a:pt x="120286" y="93163"/>
                        <a:pt x="93163" y="120286"/>
                        <a:pt x="60143" y="120286"/>
                      </a:cubicBezTo>
                      <a:close/>
                    </a:path>
                  </a:pathLst>
                </a:custGeom>
                <a:solidFill>
                  <a:srgbClr val="07636C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41" name="Forme libre : forme 29">
                  <a:extLst>
                    <a:ext uri="{FF2B5EF4-FFF2-40B4-BE49-F238E27FC236}">
                      <a16:creationId xmlns:a16="http://schemas.microsoft.com/office/drawing/2014/main" id="{A75AF7DD-E253-E6C9-3DD3-47265EFDBEDA}"/>
                    </a:ext>
                  </a:extLst>
                </p:cNvPr>
                <p:cNvSpPr/>
                <p:nvPr/>
              </p:nvSpPr>
              <p:spPr>
                <a:xfrm>
                  <a:off x="1233687" y="2866182"/>
                  <a:ext cx="120286" cy="120286"/>
                </a:xfrm>
                <a:custGeom>
                  <a:avLst/>
                  <a:gdLst>
                    <a:gd name="connsiteX0" fmla="*/ 60143 w 120286"/>
                    <a:gd name="connsiteY0" fmla="*/ 120286 h 120286"/>
                    <a:gd name="connsiteX1" fmla="*/ 0 w 120286"/>
                    <a:gd name="connsiteY1" fmla="*/ 60143 h 120286"/>
                    <a:gd name="connsiteX2" fmla="*/ 60143 w 120286"/>
                    <a:gd name="connsiteY2" fmla="*/ 0 h 120286"/>
                    <a:gd name="connsiteX3" fmla="*/ 120286 w 120286"/>
                    <a:gd name="connsiteY3" fmla="*/ 60143 h 120286"/>
                    <a:gd name="connsiteX4" fmla="*/ 60143 w 120286"/>
                    <a:gd name="connsiteY4" fmla="*/ 120286 h 120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286" h="120286">
                      <a:moveTo>
                        <a:pt x="60143" y="120286"/>
                      </a:moveTo>
                      <a:cubicBezTo>
                        <a:pt x="27123" y="120286"/>
                        <a:pt x="0" y="93163"/>
                        <a:pt x="0" y="60143"/>
                      </a:cubicBezTo>
                      <a:cubicBezTo>
                        <a:pt x="0" y="27123"/>
                        <a:pt x="27123" y="0"/>
                        <a:pt x="60143" y="0"/>
                      </a:cubicBezTo>
                      <a:cubicBezTo>
                        <a:pt x="93163" y="0"/>
                        <a:pt x="120286" y="27123"/>
                        <a:pt x="120286" y="60143"/>
                      </a:cubicBezTo>
                      <a:cubicBezTo>
                        <a:pt x="120286" y="93163"/>
                        <a:pt x="93458" y="120286"/>
                        <a:pt x="60143" y="120286"/>
                      </a:cubicBezTo>
                      <a:close/>
                    </a:path>
                  </a:pathLst>
                </a:custGeom>
                <a:solidFill>
                  <a:srgbClr val="07636C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42" name="Forme libre : forme 30">
                  <a:extLst>
                    <a:ext uri="{FF2B5EF4-FFF2-40B4-BE49-F238E27FC236}">
                      <a16:creationId xmlns:a16="http://schemas.microsoft.com/office/drawing/2014/main" id="{8797A4AC-FBE7-F375-6145-131F7AF157B1}"/>
                    </a:ext>
                  </a:extLst>
                </p:cNvPr>
                <p:cNvSpPr/>
                <p:nvPr/>
              </p:nvSpPr>
              <p:spPr>
                <a:xfrm>
                  <a:off x="2129940" y="3762434"/>
                  <a:ext cx="120286" cy="120286"/>
                </a:xfrm>
                <a:custGeom>
                  <a:avLst/>
                  <a:gdLst>
                    <a:gd name="connsiteX0" fmla="*/ 60143 w 120286"/>
                    <a:gd name="connsiteY0" fmla="*/ 120287 h 120286"/>
                    <a:gd name="connsiteX1" fmla="*/ 0 w 120286"/>
                    <a:gd name="connsiteY1" fmla="*/ 60143 h 120286"/>
                    <a:gd name="connsiteX2" fmla="*/ 60143 w 120286"/>
                    <a:gd name="connsiteY2" fmla="*/ 0 h 120286"/>
                    <a:gd name="connsiteX3" fmla="*/ 120286 w 120286"/>
                    <a:gd name="connsiteY3" fmla="*/ 60143 h 120286"/>
                    <a:gd name="connsiteX4" fmla="*/ 60143 w 120286"/>
                    <a:gd name="connsiteY4" fmla="*/ 120287 h 120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286" h="120286">
                      <a:moveTo>
                        <a:pt x="60143" y="120287"/>
                      </a:moveTo>
                      <a:cubicBezTo>
                        <a:pt x="27123" y="120287"/>
                        <a:pt x="0" y="93163"/>
                        <a:pt x="0" y="60143"/>
                      </a:cubicBezTo>
                      <a:cubicBezTo>
                        <a:pt x="0" y="27123"/>
                        <a:pt x="27123" y="0"/>
                        <a:pt x="60143" y="0"/>
                      </a:cubicBezTo>
                      <a:cubicBezTo>
                        <a:pt x="93163" y="0"/>
                        <a:pt x="120286" y="27123"/>
                        <a:pt x="120286" y="60143"/>
                      </a:cubicBezTo>
                      <a:cubicBezTo>
                        <a:pt x="120286" y="93458"/>
                        <a:pt x="93163" y="120287"/>
                        <a:pt x="60143" y="120287"/>
                      </a:cubicBezTo>
                      <a:close/>
                    </a:path>
                  </a:pathLst>
                </a:custGeom>
                <a:solidFill>
                  <a:srgbClr val="07636C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43" name="Forme libre : forme 31">
                  <a:extLst>
                    <a:ext uri="{FF2B5EF4-FFF2-40B4-BE49-F238E27FC236}">
                      <a16:creationId xmlns:a16="http://schemas.microsoft.com/office/drawing/2014/main" id="{D953B0AD-9CC8-00E8-1767-BAFCE23B38A7}"/>
                    </a:ext>
                  </a:extLst>
                </p:cNvPr>
                <p:cNvSpPr/>
                <p:nvPr/>
              </p:nvSpPr>
              <p:spPr>
                <a:xfrm>
                  <a:off x="3026192" y="2866182"/>
                  <a:ext cx="120286" cy="120286"/>
                </a:xfrm>
                <a:custGeom>
                  <a:avLst/>
                  <a:gdLst>
                    <a:gd name="connsiteX0" fmla="*/ 60143 w 120286"/>
                    <a:gd name="connsiteY0" fmla="*/ 120286 h 120286"/>
                    <a:gd name="connsiteX1" fmla="*/ 0 w 120286"/>
                    <a:gd name="connsiteY1" fmla="*/ 60143 h 120286"/>
                    <a:gd name="connsiteX2" fmla="*/ 60143 w 120286"/>
                    <a:gd name="connsiteY2" fmla="*/ 0 h 120286"/>
                    <a:gd name="connsiteX3" fmla="*/ 120286 w 120286"/>
                    <a:gd name="connsiteY3" fmla="*/ 60143 h 120286"/>
                    <a:gd name="connsiteX4" fmla="*/ 60143 w 120286"/>
                    <a:gd name="connsiteY4" fmla="*/ 120286 h 120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0286" h="120286">
                      <a:moveTo>
                        <a:pt x="60143" y="120286"/>
                      </a:moveTo>
                      <a:cubicBezTo>
                        <a:pt x="27123" y="120286"/>
                        <a:pt x="0" y="93163"/>
                        <a:pt x="0" y="60143"/>
                      </a:cubicBezTo>
                      <a:cubicBezTo>
                        <a:pt x="0" y="27123"/>
                        <a:pt x="27123" y="0"/>
                        <a:pt x="60143" y="0"/>
                      </a:cubicBezTo>
                      <a:cubicBezTo>
                        <a:pt x="93163" y="0"/>
                        <a:pt x="120286" y="27123"/>
                        <a:pt x="120286" y="60143"/>
                      </a:cubicBezTo>
                      <a:cubicBezTo>
                        <a:pt x="120286" y="93163"/>
                        <a:pt x="93163" y="120286"/>
                        <a:pt x="60143" y="120286"/>
                      </a:cubicBezTo>
                      <a:close/>
                    </a:path>
                  </a:pathLst>
                </a:custGeom>
                <a:solidFill>
                  <a:srgbClr val="07636C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grpSp>
            <p:nvGrpSpPr>
              <p:cNvPr id="30" name="Graphique 2">
                <a:extLst>
                  <a:ext uri="{FF2B5EF4-FFF2-40B4-BE49-F238E27FC236}">
                    <a16:creationId xmlns:a16="http://schemas.microsoft.com/office/drawing/2014/main" id="{EF4E52CB-117A-AFE5-3AA5-2B1A73F37BAE}"/>
                  </a:ext>
                </a:extLst>
              </p:cNvPr>
              <p:cNvGrpSpPr/>
              <p:nvPr/>
            </p:nvGrpSpPr>
            <p:grpSpPr>
              <a:xfrm>
                <a:off x="1371663" y="2108200"/>
                <a:ext cx="1636545" cy="1636545"/>
                <a:chOff x="1371663" y="2108200"/>
                <a:chExt cx="1636545" cy="1636545"/>
              </a:xfrm>
              <a:solidFill>
                <a:srgbClr val="0B9392"/>
              </a:solidFill>
            </p:grpSpPr>
            <p:sp>
              <p:nvSpPr>
                <p:cNvPr id="32" name="Forme libre : forme 20">
                  <a:extLst>
                    <a:ext uri="{FF2B5EF4-FFF2-40B4-BE49-F238E27FC236}">
                      <a16:creationId xmlns:a16="http://schemas.microsoft.com/office/drawing/2014/main" id="{00CD2C36-F075-1EC2-7A98-E99B47717130}"/>
                    </a:ext>
                  </a:extLst>
                </p:cNvPr>
                <p:cNvSpPr/>
                <p:nvPr/>
              </p:nvSpPr>
              <p:spPr>
                <a:xfrm>
                  <a:off x="1699797" y="2108200"/>
                  <a:ext cx="84318" cy="84318"/>
                </a:xfrm>
                <a:custGeom>
                  <a:avLst/>
                  <a:gdLst>
                    <a:gd name="connsiteX0" fmla="*/ 84318 w 84318"/>
                    <a:gd name="connsiteY0" fmla="*/ 42159 h 84318"/>
                    <a:gd name="connsiteX1" fmla="*/ 42159 w 84318"/>
                    <a:gd name="connsiteY1" fmla="*/ 84318 h 84318"/>
                    <a:gd name="connsiteX2" fmla="*/ 0 w 84318"/>
                    <a:gd name="connsiteY2" fmla="*/ 42159 h 84318"/>
                    <a:gd name="connsiteX3" fmla="*/ 42159 w 84318"/>
                    <a:gd name="connsiteY3" fmla="*/ 0 h 84318"/>
                    <a:gd name="connsiteX4" fmla="*/ 84318 w 84318"/>
                    <a:gd name="connsiteY4" fmla="*/ 42159 h 84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318" h="84318">
                      <a:moveTo>
                        <a:pt x="84318" y="42159"/>
                      </a:moveTo>
                      <a:cubicBezTo>
                        <a:pt x="84318" y="65443"/>
                        <a:pt x="65443" y="84318"/>
                        <a:pt x="42159" y="84318"/>
                      </a:cubicBezTo>
                      <a:cubicBezTo>
                        <a:pt x="18875" y="84318"/>
                        <a:pt x="0" y="65443"/>
                        <a:pt x="0" y="42159"/>
                      </a:cubicBezTo>
                      <a:cubicBezTo>
                        <a:pt x="0" y="18875"/>
                        <a:pt x="18875" y="0"/>
                        <a:pt x="42159" y="0"/>
                      </a:cubicBezTo>
                      <a:cubicBezTo>
                        <a:pt x="65443" y="0"/>
                        <a:pt x="84318" y="18875"/>
                        <a:pt x="84318" y="421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3" name="Forme libre : forme 21">
                  <a:extLst>
                    <a:ext uri="{FF2B5EF4-FFF2-40B4-BE49-F238E27FC236}">
                      <a16:creationId xmlns:a16="http://schemas.microsoft.com/office/drawing/2014/main" id="{4B81CBD8-85EE-BF02-7876-D8546FA1AD2C}"/>
                    </a:ext>
                  </a:extLst>
                </p:cNvPr>
                <p:cNvSpPr/>
                <p:nvPr/>
              </p:nvSpPr>
              <p:spPr>
                <a:xfrm>
                  <a:off x="1371663" y="2436334"/>
                  <a:ext cx="84318" cy="84318"/>
                </a:xfrm>
                <a:custGeom>
                  <a:avLst/>
                  <a:gdLst>
                    <a:gd name="connsiteX0" fmla="*/ 84319 w 84318"/>
                    <a:gd name="connsiteY0" fmla="*/ 42159 h 84318"/>
                    <a:gd name="connsiteX1" fmla="*/ 42159 w 84318"/>
                    <a:gd name="connsiteY1" fmla="*/ 84318 h 84318"/>
                    <a:gd name="connsiteX2" fmla="*/ 0 w 84318"/>
                    <a:gd name="connsiteY2" fmla="*/ 42159 h 84318"/>
                    <a:gd name="connsiteX3" fmla="*/ 42159 w 84318"/>
                    <a:gd name="connsiteY3" fmla="*/ 0 h 84318"/>
                    <a:gd name="connsiteX4" fmla="*/ 84319 w 84318"/>
                    <a:gd name="connsiteY4" fmla="*/ 42159 h 84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318" h="84318">
                      <a:moveTo>
                        <a:pt x="84319" y="42159"/>
                      </a:moveTo>
                      <a:cubicBezTo>
                        <a:pt x="84319" y="65443"/>
                        <a:pt x="65443" y="84318"/>
                        <a:pt x="42159" y="84318"/>
                      </a:cubicBezTo>
                      <a:cubicBezTo>
                        <a:pt x="18875" y="84318"/>
                        <a:pt x="0" y="65443"/>
                        <a:pt x="0" y="42159"/>
                      </a:cubicBezTo>
                      <a:cubicBezTo>
                        <a:pt x="0" y="18875"/>
                        <a:pt x="18875" y="0"/>
                        <a:pt x="42159" y="0"/>
                      </a:cubicBezTo>
                      <a:cubicBezTo>
                        <a:pt x="65443" y="0"/>
                        <a:pt x="84319" y="18875"/>
                        <a:pt x="84319" y="421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4" name="Forme libre : forme 22">
                  <a:extLst>
                    <a:ext uri="{FF2B5EF4-FFF2-40B4-BE49-F238E27FC236}">
                      <a16:creationId xmlns:a16="http://schemas.microsoft.com/office/drawing/2014/main" id="{13F33A47-1F12-021C-A2E5-CBB963EB8FE1}"/>
                    </a:ext>
                  </a:extLst>
                </p:cNvPr>
                <p:cNvSpPr/>
                <p:nvPr/>
              </p:nvSpPr>
              <p:spPr>
                <a:xfrm>
                  <a:off x="1371663" y="3332292"/>
                  <a:ext cx="84318" cy="84318"/>
                </a:xfrm>
                <a:custGeom>
                  <a:avLst/>
                  <a:gdLst>
                    <a:gd name="connsiteX0" fmla="*/ 84319 w 84318"/>
                    <a:gd name="connsiteY0" fmla="*/ 42159 h 84318"/>
                    <a:gd name="connsiteX1" fmla="*/ 42159 w 84318"/>
                    <a:gd name="connsiteY1" fmla="*/ 84319 h 84318"/>
                    <a:gd name="connsiteX2" fmla="*/ 0 w 84318"/>
                    <a:gd name="connsiteY2" fmla="*/ 42159 h 84318"/>
                    <a:gd name="connsiteX3" fmla="*/ 42159 w 84318"/>
                    <a:gd name="connsiteY3" fmla="*/ 0 h 84318"/>
                    <a:gd name="connsiteX4" fmla="*/ 84319 w 84318"/>
                    <a:gd name="connsiteY4" fmla="*/ 42159 h 84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318" h="84318">
                      <a:moveTo>
                        <a:pt x="84319" y="42159"/>
                      </a:moveTo>
                      <a:cubicBezTo>
                        <a:pt x="84319" y="65443"/>
                        <a:pt x="65443" y="84319"/>
                        <a:pt x="42159" y="84319"/>
                      </a:cubicBezTo>
                      <a:cubicBezTo>
                        <a:pt x="18875" y="84319"/>
                        <a:pt x="0" y="65443"/>
                        <a:pt x="0" y="42159"/>
                      </a:cubicBezTo>
                      <a:cubicBezTo>
                        <a:pt x="0" y="18876"/>
                        <a:pt x="18875" y="0"/>
                        <a:pt x="42159" y="0"/>
                      </a:cubicBezTo>
                      <a:cubicBezTo>
                        <a:pt x="65443" y="0"/>
                        <a:pt x="84319" y="18876"/>
                        <a:pt x="84319" y="421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5" name="Forme libre : forme 23">
                  <a:extLst>
                    <a:ext uri="{FF2B5EF4-FFF2-40B4-BE49-F238E27FC236}">
                      <a16:creationId xmlns:a16="http://schemas.microsoft.com/office/drawing/2014/main" id="{069346A7-CFD6-791D-C0A8-AECF865F95CB}"/>
                    </a:ext>
                  </a:extLst>
                </p:cNvPr>
                <p:cNvSpPr/>
                <p:nvPr/>
              </p:nvSpPr>
              <p:spPr>
                <a:xfrm>
                  <a:off x="1699797" y="3660426"/>
                  <a:ext cx="84318" cy="84318"/>
                </a:xfrm>
                <a:custGeom>
                  <a:avLst/>
                  <a:gdLst>
                    <a:gd name="connsiteX0" fmla="*/ 84318 w 84318"/>
                    <a:gd name="connsiteY0" fmla="*/ 42159 h 84318"/>
                    <a:gd name="connsiteX1" fmla="*/ 42159 w 84318"/>
                    <a:gd name="connsiteY1" fmla="*/ 84319 h 84318"/>
                    <a:gd name="connsiteX2" fmla="*/ 0 w 84318"/>
                    <a:gd name="connsiteY2" fmla="*/ 42159 h 84318"/>
                    <a:gd name="connsiteX3" fmla="*/ 42159 w 84318"/>
                    <a:gd name="connsiteY3" fmla="*/ 0 h 84318"/>
                    <a:gd name="connsiteX4" fmla="*/ 84318 w 84318"/>
                    <a:gd name="connsiteY4" fmla="*/ 42159 h 84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318" h="84318">
                      <a:moveTo>
                        <a:pt x="84318" y="42159"/>
                      </a:moveTo>
                      <a:cubicBezTo>
                        <a:pt x="84318" y="65443"/>
                        <a:pt x="65443" y="84319"/>
                        <a:pt x="42159" y="84319"/>
                      </a:cubicBezTo>
                      <a:cubicBezTo>
                        <a:pt x="18875" y="84319"/>
                        <a:pt x="0" y="65443"/>
                        <a:pt x="0" y="42159"/>
                      </a:cubicBezTo>
                      <a:cubicBezTo>
                        <a:pt x="0" y="18875"/>
                        <a:pt x="18875" y="0"/>
                        <a:pt x="42159" y="0"/>
                      </a:cubicBezTo>
                      <a:cubicBezTo>
                        <a:pt x="65443" y="0"/>
                        <a:pt x="84318" y="18875"/>
                        <a:pt x="84318" y="421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6" name="Forme libre : forme 24">
                  <a:extLst>
                    <a:ext uri="{FF2B5EF4-FFF2-40B4-BE49-F238E27FC236}">
                      <a16:creationId xmlns:a16="http://schemas.microsoft.com/office/drawing/2014/main" id="{DC6CD04C-171B-363C-7EE2-30BFE7FB4902}"/>
                    </a:ext>
                  </a:extLst>
                </p:cNvPr>
                <p:cNvSpPr/>
                <p:nvPr/>
              </p:nvSpPr>
              <p:spPr>
                <a:xfrm>
                  <a:off x="2596050" y="3660426"/>
                  <a:ext cx="84318" cy="84318"/>
                </a:xfrm>
                <a:custGeom>
                  <a:avLst/>
                  <a:gdLst>
                    <a:gd name="connsiteX0" fmla="*/ 84319 w 84318"/>
                    <a:gd name="connsiteY0" fmla="*/ 42159 h 84318"/>
                    <a:gd name="connsiteX1" fmla="*/ 42159 w 84318"/>
                    <a:gd name="connsiteY1" fmla="*/ 84319 h 84318"/>
                    <a:gd name="connsiteX2" fmla="*/ 0 w 84318"/>
                    <a:gd name="connsiteY2" fmla="*/ 42159 h 84318"/>
                    <a:gd name="connsiteX3" fmla="*/ 42159 w 84318"/>
                    <a:gd name="connsiteY3" fmla="*/ 0 h 84318"/>
                    <a:gd name="connsiteX4" fmla="*/ 84319 w 84318"/>
                    <a:gd name="connsiteY4" fmla="*/ 42159 h 84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318" h="84318">
                      <a:moveTo>
                        <a:pt x="84319" y="42159"/>
                      </a:moveTo>
                      <a:cubicBezTo>
                        <a:pt x="84319" y="65443"/>
                        <a:pt x="65443" y="84319"/>
                        <a:pt x="42159" y="84319"/>
                      </a:cubicBezTo>
                      <a:cubicBezTo>
                        <a:pt x="18875" y="84319"/>
                        <a:pt x="0" y="65443"/>
                        <a:pt x="0" y="42159"/>
                      </a:cubicBezTo>
                      <a:cubicBezTo>
                        <a:pt x="0" y="18875"/>
                        <a:pt x="18875" y="0"/>
                        <a:pt x="42159" y="0"/>
                      </a:cubicBezTo>
                      <a:cubicBezTo>
                        <a:pt x="65443" y="0"/>
                        <a:pt x="84319" y="18875"/>
                        <a:pt x="84319" y="421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7" name="Forme libre : forme 25">
                  <a:extLst>
                    <a:ext uri="{FF2B5EF4-FFF2-40B4-BE49-F238E27FC236}">
                      <a16:creationId xmlns:a16="http://schemas.microsoft.com/office/drawing/2014/main" id="{3DEFE0B9-05DC-802A-9CCB-33B44166EC5B}"/>
                    </a:ext>
                  </a:extLst>
                </p:cNvPr>
                <p:cNvSpPr/>
                <p:nvPr/>
              </p:nvSpPr>
              <p:spPr>
                <a:xfrm>
                  <a:off x="2923890" y="3332292"/>
                  <a:ext cx="84318" cy="84318"/>
                </a:xfrm>
                <a:custGeom>
                  <a:avLst/>
                  <a:gdLst>
                    <a:gd name="connsiteX0" fmla="*/ 84319 w 84318"/>
                    <a:gd name="connsiteY0" fmla="*/ 42159 h 84318"/>
                    <a:gd name="connsiteX1" fmla="*/ 42159 w 84318"/>
                    <a:gd name="connsiteY1" fmla="*/ 84319 h 84318"/>
                    <a:gd name="connsiteX2" fmla="*/ 0 w 84318"/>
                    <a:gd name="connsiteY2" fmla="*/ 42159 h 84318"/>
                    <a:gd name="connsiteX3" fmla="*/ 42159 w 84318"/>
                    <a:gd name="connsiteY3" fmla="*/ 0 h 84318"/>
                    <a:gd name="connsiteX4" fmla="*/ 84319 w 84318"/>
                    <a:gd name="connsiteY4" fmla="*/ 42159 h 84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318" h="84318">
                      <a:moveTo>
                        <a:pt x="84319" y="42159"/>
                      </a:moveTo>
                      <a:cubicBezTo>
                        <a:pt x="84319" y="65443"/>
                        <a:pt x="65443" y="84319"/>
                        <a:pt x="42159" y="84319"/>
                      </a:cubicBezTo>
                      <a:cubicBezTo>
                        <a:pt x="18876" y="84319"/>
                        <a:pt x="0" y="65443"/>
                        <a:pt x="0" y="42159"/>
                      </a:cubicBezTo>
                      <a:cubicBezTo>
                        <a:pt x="0" y="18876"/>
                        <a:pt x="18876" y="0"/>
                        <a:pt x="42159" y="0"/>
                      </a:cubicBezTo>
                      <a:cubicBezTo>
                        <a:pt x="65443" y="0"/>
                        <a:pt x="84319" y="18876"/>
                        <a:pt x="84319" y="421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8" name="Forme libre : forme 26">
                  <a:extLst>
                    <a:ext uri="{FF2B5EF4-FFF2-40B4-BE49-F238E27FC236}">
                      <a16:creationId xmlns:a16="http://schemas.microsoft.com/office/drawing/2014/main" id="{D8A57AE5-E977-D5A8-15DC-D709E0F96160}"/>
                    </a:ext>
                  </a:extLst>
                </p:cNvPr>
                <p:cNvSpPr/>
                <p:nvPr/>
              </p:nvSpPr>
              <p:spPr>
                <a:xfrm>
                  <a:off x="2923890" y="2436334"/>
                  <a:ext cx="84318" cy="84318"/>
                </a:xfrm>
                <a:custGeom>
                  <a:avLst/>
                  <a:gdLst>
                    <a:gd name="connsiteX0" fmla="*/ 84319 w 84318"/>
                    <a:gd name="connsiteY0" fmla="*/ 42159 h 84318"/>
                    <a:gd name="connsiteX1" fmla="*/ 42159 w 84318"/>
                    <a:gd name="connsiteY1" fmla="*/ 84318 h 84318"/>
                    <a:gd name="connsiteX2" fmla="*/ 0 w 84318"/>
                    <a:gd name="connsiteY2" fmla="*/ 42159 h 84318"/>
                    <a:gd name="connsiteX3" fmla="*/ 42159 w 84318"/>
                    <a:gd name="connsiteY3" fmla="*/ 0 h 84318"/>
                    <a:gd name="connsiteX4" fmla="*/ 84319 w 84318"/>
                    <a:gd name="connsiteY4" fmla="*/ 42159 h 84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318" h="84318">
                      <a:moveTo>
                        <a:pt x="84319" y="42159"/>
                      </a:moveTo>
                      <a:cubicBezTo>
                        <a:pt x="84319" y="65443"/>
                        <a:pt x="65443" y="84318"/>
                        <a:pt x="42159" y="84318"/>
                      </a:cubicBezTo>
                      <a:cubicBezTo>
                        <a:pt x="18876" y="84318"/>
                        <a:pt x="0" y="65443"/>
                        <a:pt x="0" y="42159"/>
                      </a:cubicBezTo>
                      <a:cubicBezTo>
                        <a:pt x="0" y="18875"/>
                        <a:pt x="18876" y="0"/>
                        <a:pt x="42159" y="0"/>
                      </a:cubicBezTo>
                      <a:cubicBezTo>
                        <a:pt x="65443" y="0"/>
                        <a:pt x="84319" y="18875"/>
                        <a:pt x="84319" y="421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9" name="Forme libre : forme 27">
                  <a:extLst>
                    <a:ext uri="{FF2B5EF4-FFF2-40B4-BE49-F238E27FC236}">
                      <a16:creationId xmlns:a16="http://schemas.microsoft.com/office/drawing/2014/main" id="{9848C82F-2DF1-A221-D251-AA177B0E7459}"/>
                    </a:ext>
                  </a:extLst>
                </p:cNvPr>
                <p:cNvSpPr/>
                <p:nvPr/>
              </p:nvSpPr>
              <p:spPr>
                <a:xfrm>
                  <a:off x="2596050" y="2108200"/>
                  <a:ext cx="84318" cy="84318"/>
                </a:xfrm>
                <a:custGeom>
                  <a:avLst/>
                  <a:gdLst>
                    <a:gd name="connsiteX0" fmla="*/ 84319 w 84318"/>
                    <a:gd name="connsiteY0" fmla="*/ 42159 h 84318"/>
                    <a:gd name="connsiteX1" fmla="*/ 42159 w 84318"/>
                    <a:gd name="connsiteY1" fmla="*/ 84318 h 84318"/>
                    <a:gd name="connsiteX2" fmla="*/ 0 w 84318"/>
                    <a:gd name="connsiteY2" fmla="*/ 42159 h 84318"/>
                    <a:gd name="connsiteX3" fmla="*/ 42159 w 84318"/>
                    <a:gd name="connsiteY3" fmla="*/ 0 h 84318"/>
                    <a:gd name="connsiteX4" fmla="*/ 84319 w 84318"/>
                    <a:gd name="connsiteY4" fmla="*/ 42159 h 84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318" h="84318">
                      <a:moveTo>
                        <a:pt x="84319" y="42159"/>
                      </a:moveTo>
                      <a:cubicBezTo>
                        <a:pt x="84319" y="65443"/>
                        <a:pt x="65443" y="84318"/>
                        <a:pt x="42159" y="84318"/>
                      </a:cubicBezTo>
                      <a:cubicBezTo>
                        <a:pt x="18875" y="84318"/>
                        <a:pt x="0" y="65443"/>
                        <a:pt x="0" y="42159"/>
                      </a:cubicBezTo>
                      <a:cubicBezTo>
                        <a:pt x="0" y="18875"/>
                        <a:pt x="18875" y="0"/>
                        <a:pt x="42159" y="0"/>
                      </a:cubicBezTo>
                      <a:cubicBezTo>
                        <a:pt x="65443" y="0"/>
                        <a:pt x="84319" y="18875"/>
                        <a:pt x="84319" y="421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</p:grpSp>
        <p:sp>
          <p:nvSpPr>
            <p:cNvPr id="20" name="ZoneTexte 9">
              <a:extLst>
                <a:ext uri="{FF2B5EF4-FFF2-40B4-BE49-F238E27FC236}">
                  <a16:creationId xmlns:a16="http://schemas.microsoft.com/office/drawing/2014/main" id="{9C6DE528-418F-6D9D-D7D7-33C43E0F7403}"/>
                </a:ext>
              </a:extLst>
            </p:cNvPr>
            <p:cNvSpPr txBox="1"/>
            <p:nvPr/>
          </p:nvSpPr>
          <p:spPr>
            <a:xfrm>
              <a:off x="1357757" y="2002636"/>
              <a:ext cx="406114" cy="2827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1"/>
              <a:r>
                <a:rPr lang="ar-MA" sz="2000" b="1" dirty="0">
                  <a:solidFill>
                    <a:srgbClr val="00566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icrosoft Uighur" panose="02000000000000000000" pitchFamily="2" charset="-78"/>
                  <a:cs typeface="Microsoft Uighur" panose="02000000000000000000" pitchFamily="2" charset="-78"/>
                </a:rPr>
                <a:t>60</a:t>
              </a:r>
              <a:endParaRPr lang="fr-MA" sz="2000" b="1" dirty="0">
                <a:solidFill>
                  <a:srgbClr val="00566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21" name="ZoneTexte 10">
              <a:extLst>
                <a:ext uri="{FF2B5EF4-FFF2-40B4-BE49-F238E27FC236}">
                  <a16:creationId xmlns:a16="http://schemas.microsoft.com/office/drawing/2014/main" id="{9873B1A0-B9F7-636F-D93E-BDF7CEC93B45}"/>
                </a:ext>
              </a:extLst>
            </p:cNvPr>
            <p:cNvSpPr txBox="1"/>
            <p:nvPr/>
          </p:nvSpPr>
          <p:spPr>
            <a:xfrm>
              <a:off x="1240960" y="2305858"/>
              <a:ext cx="625769" cy="3262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1"/>
              <a:r>
                <a:rPr lang="ar-MA" sz="2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دقيقة</a:t>
              </a:r>
              <a:endParaRPr lang="fr-MA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" name="Freeform 7">
            <a:extLst>
              <a:ext uri="{FF2B5EF4-FFF2-40B4-BE49-F238E27FC236}">
                <a16:creationId xmlns:a16="http://schemas.microsoft.com/office/drawing/2014/main" id="{3A08D439-B6D8-23ED-576B-0EA768D0B7D9}"/>
              </a:ext>
            </a:extLst>
          </p:cNvPr>
          <p:cNvSpPr/>
          <p:nvPr/>
        </p:nvSpPr>
        <p:spPr>
          <a:xfrm>
            <a:off x="8036623" y="455141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>
              <a:defRPr/>
            </a:pPr>
            <a:endParaRPr lang="fr-MA" sz="90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D69FFAF6-FC41-F342-169C-163356B485F5}"/>
              </a:ext>
            </a:extLst>
          </p:cNvPr>
          <p:cNvSpPr txBox="1"/>
          <p:nvPr/>
        </p:nvSpPr>
        <p:spPr>
          <a:xfrm>
            <a:off x="1437731" y="970157"/>
            <a:ext cx="6164669" cy="4026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ts val="20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تدبير التجانس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CDA1FD18-A850-0B35-90C4-401B422980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522170"/>
              </p:ext>
            </p:extLst>
          </p:nvPr>
        </p:nvGraphicFramePr>
        <p:xfrm>
          <a:off x="316603" y="1749840"/>
          <a:ext cx="8431862" cy="38447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6783">
                  <a:extLst>
                    <a:ext uri="{9D8B030D-6E8A-4147-A177-3AD203B41FA5}">
                      <a16:colId xmlns:a16="http://schemas.microsoft.com/office/drawing/2014/main" val="2606147368"/>
                    </a:ext>
                  </a:extLst>
                </a:gridCol>
                <a:gridCol w="484238">
                  <a:extLst>
                    <a:ext uri="{9D8B030D-6E8A-4147-A177-3AD203B41FA5}">
                      <a16:colId xmlns:a16="http://schemas.microsoft.com/office/drawing/2014/main" val="2204582943"/>
                    </a:ext>
                  </a:extLst>
                </a:gridCol>
                <a:gridCol w="3430260">
                  <a:extLst>
                    <a:ext uri="{9D8B030D-6E8A-4147-A177-3AD203B41FA5}">
                      <a16:colId xmlns:a16="http://schemas.microsoft.com/office/drawing/2014/main" val="1558092354"/>
                    </a:ext>
                  </a:extLst>
                </a:gridCol>
                <a:gridCol w="3194476">
                  <a:extLst>
                    <a:ext uri="{9D8B030D-6E8A-4147-A177-3AD203B41FA5}">
                      <a16:colId xmlns:a16="http://schemas.microsoft.com/office/drawing/2014/main" val="1149275015"/>
                    </a:ext>
                  </a:extLst>
                </a:gridCol>
                <a:gridCol w="471966">
                  <a:extLst>
                    <a:ext uri="{9D8B030D-6E8A-4147-A177-3AD203B41FA5}">
                      <a16:colId xmlns:a16="http://schemas.microsoft.com/office/drawing/2014/main" val="3858680967"/>
                    </a:ext>
                  </a:extLst>
                </a:gridCol>
                <a:gridCol w="464139">
                  <a:extLst>
                    <a:ext uri="{9D8B030D-6E8A-4147-A177-3AD203B41FA5}">
                      <a16:colId xmlns:a16="http://schemas.microsoft.com/office/drawing/2014/main" val="240854440"/>
                    </a:ext>
                  </a:extLst>
                </a:gridCol>
              </a:tblGrid>
              <a:tr h="504495"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  <a:tabLst>
                          <a:tab pos="2110740" algn="l"/>
                        </a:tabLst>
                      </a:pPr>
                      <a:r>
                        <a:rPr kumimoji="0" lang="ar-SA" sz="2800" b="1" i="0" u="none" strike="noStrike" kern="0" normalizeH="0" baseline="0" dirty="0">
                          <a:ln w="0"/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المستوى 6</a:t>
                      </a:r>
                      <a:endParaRPr kumimoji="0" lang="fr-FR" sz="2800" b="1" i="0" u="none" strike="noStrike" kern="0" normalizeH="0" baseline="0" dirty="0">
                        <a:ln w="0"/>
                        <a:solidFill>
                          <a:schemeClr val="bg1">
                            <a:lumMod val="95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kumimoji="0" lang="ar-SA" sz="2800" b="1" i="0" u="none" strike="noStrike" kern="0" normalizeH="0" baseline="0" dirty="0">
                          <a:ln w="0"/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المستوى5</a:t>
                      </a:r>
                      <a:endParaRPr kumimoji="0" lang="fr-FR" sz="2800" b="1" i="0" u="none" strike="noStrike" kern="0" normalizeH="0" baseline="0" dirty="0">
                        <a:ln w="0"/>
                        <a:solidFill>
                          <a:schemeClr val="bg1">
                            <a:lumMod val="95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364653"/>
                  </a:ext>
                </a:extLst>
              </a:tr>
              <a:tr h="528198">
                <a:tc rowSpan="5">
                  <a:txBody>
                    <a:bodyPr/>
                    <a:lstStyle/>
                    <a:p>
                      <a:pPr marL="71755" marR="71755"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  <a:tabLst>
                          <a:tab pos="2110740" algn="l"/>
                        </a:tabLst>
                      </a:pPr>
                      <a:r>
                        <a:rPr lang="ar-MA" sz="2400" b="1" kern="10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الحصة (60دقيقة)</a:t>
                      </a:r>
                      <a:endParaRPr lang="fr-FR" sz="2000" b="1" kern="100" dirty="0">
                        <a:solidFill>
                          <a:schemeClr val="bg2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768" marR="12768" marT="0" marB="0" vert="vert270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  <a:tabLst>
                          <a:tab pos="2110740" algn="l"/>
                        </a:tabLst>
                      </a:pPr>
                      <a:r>
                        <a:rPr kumimoji="0" lang="ar-SA" sz="22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افتتاح الحصة</a:t>
                      </a:r>
                      <a:r>
                        <a:rPr kumimoji="0" lang="ar-MA" sz="22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: تصحيح الأنشطة المنزلية (3دقائق)  +  حساب ذهني (5د)         +  التناوب اللغوي (3دقائق) + تنشيط المستلزمات </a:t>
                      </a:r>
                      <a:r>
                        <a:rPr kumimoji="0" lang="ar-SA" sz="22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ar-MA" sz="22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دقائق</a:t>
                      </a:r>
                      <a:r>
                        <a:rPr kumimoji="0" lang="ar-SA" sz="22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  <a:endParaRPr kumimoji="0" lang="ar-MA" sz="2200" b="1" i="0" u="none" strike="noStrike" kern="0" normalizeH="0" baseline="0" dirty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marL="71755" marR="71755"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  <a:tabLst>
                          <a:tab pos="2110740" algn="l"/>
                        </a:tabLst>
                      </a:pPr>
                      <a:r>
                        <a:rPr lang="ar-MA" sz="2400" b="1" kern="1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الحصة (60دقيقة)</a:t>
                      </a:r>
                      <a:endParaRPr lang="fr-FR" sz="2400" b="1" kern="100" dirty="0">
                        <a:solidFill>
                          <a:schemeClr val="bg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68" marR="12768" marT="0" marB="0" vert="vert270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272358"/>
                  </a:ext>
                </a:extLst>
              </a:tr>
              <a:tr h="34290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  <a:tabLst>
                          <a:tab pos="2110740" algn="l"/>
                        </a:tabLst>
                      </a:pPr>
                      <a:r>
                        <a:rPr kumimoji="0" lang="ar-M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نمذجة </a:t>
                      </a:r>
                      <a:r>
                        <a:rPr kumimoji="0" lang="ar-S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ar-M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دقائق</a:t>
                      </a:r>
                      <a:r>
                        <a:rPr kumimoji="0" lang="ar-S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  <a:r>
                        <a:rPr kumimoji="0" lang="ar-M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endParaRPr kumimoji="0" lang="fr-FR" sz="2400" b="1" i="0" u="none" strike="noStrike" kern="0" normalizeH="0" baseline="0" dirty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9620460"/>
                  </a:ext>
                </a:extLst>
              </a:tr>
              <a:tr h="34290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110740" algn="l"/>
                        </a:tabLst>
                        <a:defRPr/>
                      </a:pPr>
                      <a:r>
                        <a:rPr kumimoji="0" lang="ar-M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ممارسة موجهة </a:t>
                      </a:r>
                      <a:r>
                        <a:rPr kumimoji="0" lang="ar-S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ar-M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دقيقة</a:t>
                      </a:r>
                      <a:r>
                        <a:rPr kumimoji="0" lang="ar-S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  <a:r>
                        <a:rPr kumimoji="0" lang="ar-M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endParaRPr kumimoji="0" lang="fr-FR" sz="2400" b="1" i="0" u="none" strike="noStrike" kern="0" normalizeH="0" baseline="0" dirty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6345182"/>
                  </a:ext>
                </a:extLst>
              </a:tr>
              <a:tr h="116793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2110740" algn="l"/>
                        </a:tabLst>
                        <a:defRPr/>
                      </a:pPr>
                      <a:r>
                        <a:rPr kumimoji="0" lang="ar-MA" sz="1800" b="1" i="0" u="none" strike="noStrike" kern="0" cap="none" spc="0" normalizeH="0" baseline="0" noProof="0" dirty="0">
                          <a:ln w="0"/>
                          <a:solidFill>
                            <a:prstClr val="white"/>
                          </a:solidFill>
                          <a:effectLst>
                            <a:outerShdw blurRad="38100" dist="1905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دقيقة</a:t>
                      </a:r>
                      <a:endParaRPr kumimoji="0" lang="fr-FR" sz="1800" b="1" i="0" u="none" strike="noStrike" kern="0" cap="none" spc="0" normalizeH="0" baseline="0" noProof="0" dirty="0">
                        <a:ln w="0"/>
                        <a:solidFill>
                          <a:prstClr val="white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 vert="vert270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110740" algn="l"/>
                        </a:tabLst>
                        <a:defRPr/>
                      </a:pPr>
                      <a:r>
                        <a:rPr kumimoji="0" lang="ar-M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ممارسة مستقلة</a:t>
                      </a:r>
                    </a:p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2110740" algn="l"/>
                        </a:tabLst>
                        <a:defRPr/>
                      </a:pPr>
                      <a:r>
                        <a:rPr kumimoji="0" lang="ar-S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إنجاز أنشطة التدرب</a:t>
                      </a:r>
                      <a:r>
                        <a:rPr kumimoji="0" lang="ar-M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والتعمق (الكراسات)</a:t>
                      </a:r>
                    </a:p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>
                          <a:tab pos="2110740" algn="l"/>
                        </a:tabLst>
                        <a:defRPr/>
                      </a:pPr>
                      <a:r>
                        <a:rPr kumimoji="0" lang="ar-S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تصحيح </a:t>
                      </a:r>
                      <a:r>
                        <a:rPr kumimoji="0" lang="ar-M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ar-S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حضور الأستاذ)</a:t>
                      </a:r>
                      <a:endParaRPr kumimoji="0" lang="fr-FR" sz="1400" b="1" i="0" u="none" strike="noStrike" kern="0" normalizeH="0" baseline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110740" algn="l"/>
                        </a:tabLst>
                        <a:defRPr/>
                      </a:pPr>
                      <a:r>
                        <a:rPr kumimoji="0" lang="ar-MA" sz="24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ممارسة مستقلة</a:t>
                      </a:r>
                    </a:p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2110740" algn="l"/>
                        </a:tabLst>
                        <a:defRPr/>
                      </a:pPr>
                      <a:r>
                        <a:rPr kumimoji="0" lang="ar-S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إنجاز أنشطة التدرب</a:t>
                      </a:r>
                      <a:r>
                        <a:rPr kumimoji="0" lang="ar-M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والتعمق (الكراسات)</a:t>
                      </a:r>
                    </a:p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>
                          <a:tab pos="2110740" algn="l"/>
                        </a:tabLst>
                        <a:defRPr/>
                      </a:pPr>
                      <a:r>
                        <a:rPr kumimoji="0" lang="ar-S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تصحيح </a:t>
                      </a:r>
                      <a:r>
                        <a:rPr kumimoji="0" lang="ar-M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ar-SA" sz="14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حضور الأستاذ)</a:t>
                      </a:r>
                      <a:endParaRPr kumimoji="0" lang="fr-FR" sz="1400" b="1" i="0" u="none" strike="noStrike" kern="0" normalizeH="0" baseline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2110740" algn="l"/>
                        </a:tabLst>
                        <a:defRPr/>
                      </a:pPr>
                      <a:r>
                        <a:rPr kumimoji="0" lang="ar-MA" sz="1800" b="1" i="0" u="none" strike="noStrike" kern="0" normalizeH="0" baseline="0" dirty="0">
                          <a:ln w="0"/>
                          <a:solidFill>
                            <a:schemeClr val="bg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دقيقة</a:t>
                      </a:r>
                      <a:endParaRPr kumimoji="0" lang="fr-FR" sz="1800" b="1" i="0" u="none" strike="noStrike" kern="0" normalizeH="0" baseline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 vert="vert270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5873652"/>
                  </a:ext>
                </a:extLst>
              </a:tr>
              <a:tr h="4869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1" eaLnBrk="1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  <a:tabLst>
                          <a:tab pos="2110740" algn="l"/>
                        </a:tabLst>
                      </a:pPr>
                      <a:r>
                        <a:rPr kumimoji="0" lang="ar-SA" sz="20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اختتام الحصة</a:t>
                      </a:r>
                      <a:r>
                        <a:rPr kumimoji="0" lang="ar-MA" sz="2000" b="1" i="0" u="none" strike="noStrike" kern="0" normalizeH="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دقيقتان)</a:t>
                      </a:r>
                      <a:endParaRPr kumimoji="0" lang="fr-FR" sz="2000" b="1" i="0" u="none" strike="noStrike" kern="0" normalizeH="0" baseline="0" dirty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68" marR="12768" marT="0" marB="0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65178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64251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3B470E-A9F1-3BA6-45E5-B8BAB4B350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E226C58-797A-F9DE-6855-C562FEC609D7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23BAE679-1025-5DE5-237F-ECC4749F0E88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CC1C0C1B-0B7C-7EB3-B67B-89E986BE7C45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7DF3F1C4-AF02-CD26-CC76-43A4056065B6}"/>
                </a:ext>
              </a:extLst>
            </p:cNvPr>
            <p:cNvSpPr/>
            <p:nvPr/>
          </p:nvSpPr>
          <p:spPr>
            <a:xfrm>
              <a:off x="310444" y="293203"/>
              <a:ext cx="7949600" cy="67973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الخطوة الثانية هي: </a:t>
              </a:r>
              <a:r>
                <a:rPr lang="ar-MA" sz="2000" b="1" dirty="0">
                  <a:solidFill>
                    <a:schemeClr val="tx1"/>
                  </a:solidFill>
                </a:rPr>
                <a:t>أقارن الأجزاء إن كانت متساوية أم لا؟</a:t>
              </a:r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612C785C-D28A-BB16-CEEB-54AD9519A2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480B4302-3BDA-CEC3-A57B-E9FC48C90B3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0444" y="442049"/>
            <a:ext cx="814039" cy="89871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6947A20-16BC-9F1D-C1CA-8D051CAB50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34068" y="2106869"/>
            <a:ext cx="6629975" cy="1966130"/>
          </a:xfrm>
          <a:prstGeom prst="rect">
            <a:avLst/>
          </a:prstGeom>
        </p:spPr>
      </p:pic>
      <p:grpSp>
        <p:nvGrpSpPr>
          <p:cNvPr id="15" name="Groupe 13">
            <a:extLst>
              <a:ext uri="{FF2B5EF4-FFF2-40B4-BE49-F238E27FC236}">
                <a16:creationId xmlns:a16="http://schemas.microsoft.com/office/drawing/2014/main" id="{55764C3B-C5A1-A87E-C933-2B89497BF08D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6" name="Rectangle : coins arrondis 14">
              <a:extLst>
                <a:ext uri="{FF2B5EF4-FFF2-40B4-BE49-F238E27FC236}">
                  <a16:creationId xmlns:a16="http://schemas.microsoft.com/office/drawing/2014/main" id="{67574DDB-ADC2-C263-10D7-7F21796C128A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7" name="Rectangle : coins arrondis 15">
              <a:extLst>
                <a:ext uri="{FF2B5EF4-FFF2-40B4-BE49-F238E27FC236}">
                  <a16:creationId xmlns:a16="http://schemas.microsoft.com/office/drawing/2014/main" id="{84A37B40-C827-D0F0-FB99-62C2CE3E4183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8" name="Rectangle : coins arrondis 16">
              <a:extLst>
                <a:ext uri="{FF2B5EF4-FFF2-40B4-BE49-F238E27FC236}">
                  <a16:creationId xmlns:a16="http://schemas.microsoft.com/office/drawing/2014/main" id="{3F4950A9-EC65-541A-AE9E-0070AE76BEE9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0" name="Rectangle : coins arrondis 17">
              <a:extLst>
                <a:ext uri="{FF2B5EF4-FFF2-40B4-BE49-F238E27FC236}">
                  <a16:creationId xmlns:a16="http://schemas.microsoft.com/office/drawing/2014/main" id="{AE5DE632-D163-E04B-6F06-15B5CCE066C3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3" name="Rectangle : coins arrondis 18">
              <a:extLst>
                <a:ext uri="{FF2B5EF4-FFF2-40B4-BE49-F238E27FC236}">
                  <a16:creationId xmlns:a16="http://schemas.microsoft.com/office/drawing/2014/main" id="{EFF455FF-F1D6-F4F3-5F41-509A9A5254DA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990723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04289-8E2F-06E0-3BF3-5F3BDE7FC0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71874F-C8E2-7447-045C-9A8CBD0F0CC3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5A5230C8-1939-D34E-955F-BCF8BE1005A4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CFA94085-6C55-D493-2FEC-8273CAE8E954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D9CE5563-9165-FA7B-3911-E0D53B070435}"/>
                </a:ext>
              </a:extLst>
            </p:cNvPr>
            <p:cNvSpPr/>
            <p:nvPr/>
          </p:nvSpPr>
          <p:spPr>
            <a:xfrm>
              <a:off x="310444" y="293203"/>
              <a:ext cx="7949600" cy="67973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000" b="1" dirty="0">
                  <a:solidFill>
                    <a:schemeClr val="tx1"/>
                  </a:solidFill>
                </a:rPr>
                <a:t>لدينا فقط الجزء الأول، لا نستطيع مقارنته بالجزء الثاني، وغير متناسب مع الكل.</a:t>
              </a:r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2F44959B-A2E9-DFA3-8350-E8D94EB721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260044" y="476672"/>
            <a:ext cx="427652" cy="4082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3321A6D-154C-6999-B33F-57AFF80BDA0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0444" y="442049"/>
            <a:ext cx="814039" cy="89871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4619C0B-455F-08EE-1DFC-AE35DB9C5D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7012" y="1988840"/>
            <a:ext cx="6629975" cy="1966130"/>
          </a:xfrm>
          <a:prstGeom prst="rect">
            <a:avLst/>
          </a:prstGeom>
        </p:spPr>
      </p:pic>
      <p:grpSp>
        <p:nvGrpSpPr>
          <p:cNvPr id="16" name="Groupe 13">
            <a:extLst>
              <a:ext uri="{FF2B5EF4-FFF2-40B4-BE49-F238E27FC236}">
                <a16:creationId xmlns:a16="http://schemas.microsoft.com/office/drawing/2014/main" id="{66B88D05-DBC4-D4B3-878E-E363D88EF0D1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7" name="Rectangle : coins arrondis 14">
              <a:extLst>
                <a:ext uri="{FF2B5EF4-FFF2-40B4-BE49-F238E27FC236}">
                  <a16:creationId xmlns:a16="http://schemas.microsoft.com/office/drawing/2014/main" id="{7B2891C6-A1A5-FB8C-E72E-47A55F601741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8" name="Rectangle : coins arrondis 15">
              <a:extLst>
                <a:ext uri="{FF2B5EF4-FFF2-40B4-BE49-F238E27FC236}">
                  <a16:creationId xmlns:a16="http://schemas.microsoft.com/office/drawing/2014/main" id="{6675E65C-F9DF-93FD-489D-5655C04B3C6F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9" name="Rectangle : coins arrondis 16">
              <a:extLst>
                <a:ext uri="{FF2B5EF4-FFF2-40B4-BE49-F238E27FC236}">
                  <a16:creationId xmlns:a16="http://schemas.microsoft.com/office/drawing/2014/main" id="{58230651-D507-0639-B266-E7E555B866B7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0" name="Rectangle : coins arrondis 17">
              <a:extLst>
                <a:ext uri="{FF2B5EF4-FFF2-40B4-BE49-F238E27FC236}">
                  <a16:creationId xmlns:a16="http://schemas.microsoft.com/office/drawing/2014/main" id="{6621C0B8-140F-9CCB-26C8-8DCA669C2E75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3" name="Rectangle : coins arrondis 18">
              <a:extLst>
                <a:ext uri="{FF2B5EF4-FFF2-40B4-BE49-F238E27FC236}">
                  <a16:creationId xmlns:a16="http://schemas.microsoft.com/office/drawing/2014/main" id="{84E7CB2D-1A69-5268-991E-F35A81334817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69976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3EFBF3-A53A-EB6E-BC37-356617BBB2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D6EE2F2-5DE0-7AC8-4D1D-FB4A6C74C28F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CEC7258B-8960-49BC-ABD5-7623198A3F17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5F04AB20-5456-B500-882C-CA263CEEBE3D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F6E16775-FA8E-266C-280A-BB6745B209F0}"/>
                </a:ext>
              </a:extLst>
            </p:cNvPr>
            <p:cNvSpPr/>
            <p:nvPr/>
          </p:nvSpPr>
          <p:spPr>
            <a:xfrm>
              <a:off x="310444" y="293203"/>
              <a:ext cx="7949600" cy="67973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الخطوة الثالثة : </a:t>
              </a:r>
              <a:r>
                <a:rPr lang="ar-MA" sz="2000" b="1" dirty="0">
                  <a:solidFill>
                    <a:schemeClr val="tx1"/>
                  </a:solidFill>
                </a:rPr>
                <a:t>أحدد العملية المناسبة وأكتب متساوية الحل</a:t>
              </a:r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6FFCEB0E-7CEF-C4F1-56B2-18679FE580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8E1D6C2-C6A5-B063-6857-3A6DDD085D0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0444" y="442049"/>
            <a:ext cx="814039" cy="89871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9FF1BFC-A6DA-0B5B-8BD2-6305BB294C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5556" y="1817437"/>
            <a:ext cx="6629975" cy="1966130"/>
          </a:xfrm>
          <a:prstGeom prst="rect">
            <a:avLst/>
          </a:prstGeom>
        </p:spPr>
      </p:pic>
      <p:grpSp>
        <p:nvGrpSpPr>
          <p:cNvPr id="16" name="Groupe 13">
            <a:extLst>
              <a:ext uri="{FF2B5EF4-FFF2-40B4-BE49-F238E27FC236}">
                <a16:creationId xmlns:a16="http://schemas.microsoft.com/office/drawing/2014/main" id="{72E8F411-45A4-5A1D-0309-0F4EA66EA72B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7" name="Rectangle : coins arrondis 14">
              <a:extLst>
                <a:ext uri="{FF2B5EF4-FFF2-40B4-BE49-F238E27FC236}">
                  <a16:creationId xmlns:a16="http://schemas.microsoft.com/office/drawing/2014/main" id="{1C7105D1-DE44-682A-20E7-6760B59CE584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8" name="Rectangle : coins arrondis 15">
              <a:extLst>
                <a:ext uri="{FF2B5EF4-FFF2-40B4-BE49-F238E27FC236}">
                  <a16:creationId xmlns:a16="http://schemas.microsoft.com/office/drawing/2014/main" id="{01B794D9-0016-1264-5B9A-D03CC999E6FB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9" name="Rectangle : coins arrondis 16">
              <a:extLst>
                <a:ext uri="{FF2B5EF4-FFF2-40B4-BE49-F238E27FC236}">
                  <a16:creationId xmlns:a16="http://schemas.microsoft.com/office/drawing/2014/main" id="{43AE0EF5-3AC4-27E6-602A-CC2B94E41F4F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0" name="Rectangle : coins arrondis 17">
              <a:extLst>
                <a:ext uri="{FF2B5EF4-FFF2-40B4-BE49-F238E27FC236}">
                  <a16:creationId xmlns:a16="http://schemas.microsoft.com/office/drawing/2014/main" id="{D61A6EC0-D3C4-7D9F-22C4-EFF95E027875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3" name="Rectangle : coins arrondis 18">
              <a:extLst>
                <a:ext uri="{FF2B5EF4-FFF2-40B4-BE49-F238E27FC236}">
                  <a16:creationId xmlns:a16="http://schemas.microsoft.com/office/drawing/2014/main" id="{A0BEAA78-D402-B4E0-AB29-32DF0C36A602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891816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61BF32-1286-B023-3C50-7F25EC4877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141B16B-781B-7C77-5D47-3BDAB503D33C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ED0D82C-AA90-0EFE-3884-2D315433E86C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D489A609-BF79-D4BC-A5FF-CCA97D1DE75D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34F76032-5CD6-D046-BF90-B3F4C663D2D7}"/>
                </a:ext>
              </a:extLst>
            </p:cNvPr>
            <p:cNvSpPr/>
            <p:nvPr/>
          </p:nvSpPr>
          <p:spPr>
            <a:xfrm>
              <a:off x="310444" y="293203"/>
              <a:ext cx="7949600" cy="972473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لحساب الجزء الذي يمثل عدد تلاميذ باقي المستويات سأوظف عملية الطرح.</a:t>
              </a:r>
            </a:p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وبالتالي متساوية الحل هي:    </a:t>
              </a:r>
              <a:r>
                <a:rPr lang="fr-FR" sz="2000" b="1" dirty="0">
                  <a:solidFill>
                    <a:schemeClr val="bg1">
                      <a:lumMod val="65000"/>
                    </a:schemeClr>
                  </a:solidFill>
                </a:rPr>
                <a:t>394 – 125 = ? </a:t>
              </a:r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     </a:t>
              </a:r>
            </a:p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النتيجة بعد إنجاز العملية:      269 </a:t>
              </a:r>
              <a:endParaRPr lang="ar-MA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2" name="Rectangle : coins arrondis 1">
              <a:extLst>
                <a:ext uri="{FF2B5EF4-FFF2-40B4-BE49-F238E27FC236}">
                  <a16:creationId xmlns:a16="http://schemas.microsoft.com/office/drawing/2014/main" id="{AF999048-0790-0DFB-E8A5-0B1C588CA4D9}"/>
                </a:ext>
              </a:extLst>
            </p:cNvPr>
            <p:cNvSpPr/>
            <p:nvPr/>
          </p:nvSpPr>
          <p:spPr>
            <a:xfrm>
              <a:off x="533195" y="3589691"/>
              <a:ext cx="7949600" cy="67973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400" b="1" dirty="0">
                  <a:solidFill>
                    <a:srgbClr val="C00000"/>
                  </a:solidFill>
                </a:rPr>
                <a:t>متساوية الحل هي:    </a:t>
              </a:r>
              <a:r>
                <a:rPr lang="fr-FR" sz="2400" b="1" dirty="0">
                  <a:solidFill>
                    <a:srgbClr val="C00000"/>
                  </a:solidFill>
                </a:rPr>
                <a:t>394 – 125 = 269</a:t>
              </a:r>
              <a:endParaRPr lang="ar-MA" sz="2400" b="1" dirty="0">
                <a:solidFill>
                  <a:srgbClr val="C00000"/>
                </a:solidFill>
              </a:endParaRPr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E73F267D-DED6-1E0F-4870-A45F418698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9AEA7D8-8EBB-E67A-390E-9395A5DFC37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0444" y="442049"/>
            <a:ext cx="814039" cy="89871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EE5C9A4-A73F-4D75-6258-1AC9F38113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041" y="1735338"/>
            <a:ext cx="7059403" cy="1510881"/>
          </a:xfrm>
          <a:prstGeom prst="rect">
            <a:avLst/>
          </a:prstGeom>
        </p:spPr>
      </p:pic>
      <p:grpSp>
        <p:nvGrpSpPr>
          <p:cNvPr id="16" name="Groupe 13">
            <a:extLst>
              <a:ext uri="{FF2B5EF4-FFF2-40B4-BE49-F238E27FC236}">
                <a16:creationId xmlns:a16="http://schemas.microsoft.com/office/drawing/2014/main" id="{5605F3CF-45BD-EF93-C986-D018D3A8135B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7" name="Rectangle : coins arrondis 14">
              <a:extLst>
                <a:ext uri="{FF2B5EF4-FFF2-40B4-BE49-F238E27FC236}">
                  <a16:creationId xmlns:a16="http://schemas.microsoft.com/office/drawing/2014/main" id="{09CDD1D2-12C7-FEE2-DADC-BEA06E54B27B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8" name="Rectangle : coins arrondis 15">
              <a:extLst>
                <a:ext uri="{FF2B5EF4-FFF2-40B4-BE49-F238E27FC236}">
                  <a16:creationId xmlns:a16="http://schemas.microsoft.com/office/drawing/2014/main" id="{870BE865-E23E-718D-4933-35DED2BB0864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9" name="Rectangle : coins arrondis 16">
              <a:extLst>
                <a:ext uri="{FF2B5EF4-FFF2-40B4-BE49-F238E27FC236}">
                  <a16:creationId xmlns:a16="http://schemas.microsoft.com/office/drawing/2014/main" id="{D9050B6D-4FF9-506A-4E9A-4EBF93D7B332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0" name="Rectangle : coins arrondis 17">
              <a:extLst>
                <a:ext uri="{FF2B5EF4-FFF2-40B4-BE49-F238E27FC236}">
                  <a16:creationId xmlns:a16="http://schemas.microsoft.com/office/drawing/2014/main" id="{88F4AB12-65C1-6F4F-C73F-5A0EAD06ABF1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3" name="Rectangle : coins arrondis 18">
              <a:extLst>
                <a:ext uri="{FF2B5EF4-FFF2-40B4-BE49-F238E27FC236}">
                  <a16:creationId xmlns:a16="http://schemas.microsoft.com/office/drawing/2014/main" id="{CF90F339-F9AE-52D3-FC93-E8F82F9BC5A4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608082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A9DE03-46B2-AFDB-991D-7BC049C63B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33CE76C-3E92-477F-7A62-F194FD282C73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EB335BE7-D5A7-39BE-6594-22489CCA27C9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C8B13C93-76D5-EAA9-590D-AE3722F0E196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E11EA13F-7B22-9A44-A3E6-89BBA4A2FA10}"/>
                </a:ext>
              </a:extLst>
            </p:cNvPr>
            <p:cNvSpPr/>
            <p:nvPr/>
          </p:nvSpPr>
          <p:spPr>
            <a:xfrm>
              <a:off x="310444" y="293203"/>
              <a:ext cx="7949600" cy="67973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الخطوة الرابعة: </a:t>
              </a:r>
              <a:r>
                <a:rPr lang="ar-MA" sz="2000" b="1" dirty="0">
                  <a:solidFill>
                    <a:schemeClr val="tx1"/>
                  </a:solidFill>
                </a:rPr>
                <a:t>أكتب عبارة الحل </a:t>
              </a:r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</a:rPr>
                <a:t>اِنطلاقا من نتيجة متساوية الحل</a:t>
              </a:r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845C0EB5-6BA7-31F1-2773-AF69135095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04660DC3-12F5-626C-02B1-55ACBF6E4E4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0444" y="442049"/>
            <a:ext cx="814039" cy="898719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2506C9E6-849F-C8F6-9681-65D4A4F67B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69824" y="1795484"/>
            <a:ext cx="6599492" cy="1653683"/>
          </a:xfrm>
          <a:prstGeom prst="rect">
            <a:avLst/>
          </a:prstGeom>
        </p:spPr>
      </p:pic>
      <p:grpSp>
        <p:nvGrpSpPr>
          <p:cNvPr id="4" name="Groupe 13">
            <a:extLst>
              <a:ext uri="{FF2B5EF4-FFF2-40B4-BE49-F238E27FC236}">
                <a16:creationId xmlns:a16="http://schemas.microsoft.com/office/drawing/2014/main" id="{985673C3-06BC-99D8-F99E-C078674CF4DC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7C1FA5A0-92B9-ECA5-AF01-29DDBD4A2292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97C59294-66E9-09D0-B6D5-A113E0FA0A9C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9BFD6F37-3319-F99D-6D90-48371D1191E8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E190EC02-9012-26D8-810C-C835D8C483E4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7C93470D-A30E-ECAB-75AC-3D9B69D52795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9EB6A536-BB88-CAC3-A50E-EE973F686A33}"/>
              </a:ext>
            </a:extLst>
          </p:cNvPr>
          <p:cNvSpPr/>
          <p:nvPr/>
        </p:nvSpPr>
        <p:spPr>
          <a:xfrm>
            <a:off x="533195" y="3627402"/>
            <a:ext cx="7949600" cy="668799"/>
          </a:xfrm>
          <a:prstGeom prst="roundRect">
            <a:avLst>
              <a:gd name="adj" fmla="val 18771"/>
            </a:avLst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rtl="1"/>
            <a:r>
              <a:rPr lang="ar-MA" sz="2000" b="1" dirty="0">
                <a:solidFill>
                  <a:schemeClr val="tx2"/>
                </a:solidFill>
              </a:rPr>
              <a:t>متساوية الحل هي:    </a:t>
            </a:r>
            <a:r>
              <a:rPr lang="fr-FR" sz="2000" b="1" dirty="0">
                <a:solidFill>
                  <a:schemeClr val="tx2"/>
                </a:solidFill>
              </a:rPr>
              <a:t>394 – 125 = 269</a:t>
            </a:r>
            <a:endParaRPr lang="ar-MA" sz="2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46905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0E941F-207B-2CEA-8ACE-4EDF7DE8F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00E87AD-FCC0-CB62-7C41-37AD21B6B574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FB64CC6E-8C35-69B3-D303-612A76F6E8C4}"/>
              </a:ext>
            </a:extLst>
          </p:cNvPr>
          <p:cNvGrpSpPr/>
          <p:nvPr/>
        </p:nvGrpSpPr>
        <p:grpSpPr>
          <a:xfrm>
            <a:off x="293484" y="383937"/>
            <a:ext cx="8524443" cy="6130461"/>
            <a:chOff x="293484" y="293203"/>
            <a:chExt cx="8524443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385420B2-2626-0FB9-542B-6ECE8ACB5814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46A09E7F-FB45-7EB0-876D-2451BEA8EBBB}"/>
                </a:ext>
              </a:extLst>
            </p:cNvPr>
            <p:cNvSpPr/>
            <p:nvPr/>
          </p:nvSpPr>
          <p:spPr>
            <a:xfrm>
              <a:off x="310444" y="293203"/>
              <a:ext cx="7949600" cy="781877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b="1" dirty="0">
                  <a:solidFill>
                    <a:schemeClr val="bg1">
                      <a:lumMod val="65000"/>
                    </a:schemeClr>
                  </a:solidFill>
                </a:rPr>
                <a:t>عبارة الحل هي: مجموع عدد التلاميذ الذين يتابعون دراستهم بالمستويات الأخرى هو 269</a:t>
              </a:r>
            </a:p>
          </p:txBody>
        </p:sp>
        <p:sp>
          <p:nvSpPr>
            <p:cNvPr id="2" name="Rectangle : coins arrondis 1">
              <a:extLst>
                <a:ext uri="{FF2B5EF4-FFF2-40B4-BE49-F238E27FC236}">
                  <a16:creationId xmlns:a16="http://schemas.microsoft.com/office/drawing/2014/main" id="{015C974D-A9AC-2E22-D40F-2510A9A0F486}"/>
                </a:ext>
              </a:extLst>
            </p:cNvPr>
            <p:cNvSpPr/>
            <p:nvPr/>
          </p:nvSpPr>
          <p:spPr>
            <a:xfrm>
              <a:off x="293484" y="3944097"/>
              <a:ext cx="8468888" cy="67973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2200" b="1" dirty="0">
                  <a:solidFill>
                    <a:srgbClr val="FF0000"/>
                  </a:solidFill>
                </a:rPr>
                <a:t>عبارة الحل هي: مجموع عدد التلاميذ الذين يتابعون دراستهم بالمستويات الأخرى هو 269</a:t>
              </a:r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986C8FAB-C860-2003-AB99-9EADCFAA28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437FD86C-E47D-1B4E-2E5C-07C196596CC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0444" y="442049"/>
            <a:ext cx="814039" cy="898719"/>
          </a:xfrm>
          <a:prstGeom prst="rect">
            <a:avLst/>
          </a:prstGeom>
        </p:spPr>
      </p:pic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FD3F750A-71C7-6D17-D822-91F91061CF95}"/>
              </a:ext>
            </a:extLst>
          </p:cNvPr>
          <p:cNvSpPr/>
          <p:nvPr/>
        </p:nvSpPr>
        <p:spPr>
          <a:xfrm>
            <a:off x="688052" y="3429000"/>
            <a:ext cx="7949600" cy="668799"/>
          </a:xfrm>
          <a:prstGeom prst="roundRect">
            <a:avLst>
              <a:gd name="adj" fmla="val 18771"/>
            </a:avLst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rtl="1"/>
            <a:r>
              <a:rPr lang="ar-MA" sz="2000" b="1" dirty="0">
                <a:solidFill>
                  <a:schemeClr val="tx2"/>
                </a:solidFill>
              </a:rPr>
              <a:t>متساوية الحل هي:    </a:t>
            </a:r>
            <a:r>
              <a:rPr lang="fr-FR" sz="2000" b="1" dirty="0">
                <a:solidFill>
                  <a:schemeClr val="tx2"/>
                </a:solidFill>
              </a:rPr>
              <a:t>394 – 125 = 269</a:t>
            </a:r>
            <a:endParaRPr lang="ar-MA" sz="2000" b="1" dirty="0">
              <a:solidFill>
                <a:schemeClr val="tx2"/>
              </a:solidFill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AFA2874A-0BA5-053D-8B94-A95E1B72AA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5556" y="1594560"/>
            <a:ext cx="6890956" cy="1474400"/>
          </a:xfrm>
          <a:prstGeom prst="rect">
            <a:avLst/>
          </a:prstGeom>
        </p:spPr>
      </p:pic>
      <p:grpSp>
        <p:nvGrpSpPr>
          <p:cNvPr id="17" name="Groupe 13">
            <a:extLst>
              <a:ext uri="{FF2B5EF4-FFF2-40B4-BE49-F238E27FC236}">
                <a16:creationId xmlns:a16="http://schemas.microsoft.com/office/drawing/2014/main" id="{8F5B06E1-461E-24C9-9AEB-9C6BAB0AA790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8" name="Rectangle : coins arrondis 14">
              <a:extLst>
                <a:ext uri="{FF2B5EF4-FFF2-40B4-BE49-F238E27FC236}">
                  <a16:creationId xmlns:a16="http://schemas.microsoft.com/office/drawing/2014/main" id="{F841E475-611B-F236-F547-33C0548BE7A9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9" name="Rectangle : coins arrondis 15">
              <a:extLst>
                <a:ext uri="{FF2B5EF4-FFF2-40B4-BE49-F238E27FC236}">
                  <a16:creationId xmlns:a16="http://schemas.microsoft.com/office/drawing/2014/main" id="{B5AF6DA9-41F8-D35F-780D-7DB4D65F5EF1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0" name="Rectangle : coins arrondis 16">
              <a:extLst>
                <a:ext uri="{FF2B5EF4-FFF2-40B4-BE49-F238E27FC236}">
                  <a16:creationId xmlns:a16="http://schemas.microsoft.com/office/drawing/2014/main" id="{B34FD6CE-420F-48AD-D094-756368CE180E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3" name="Rectangle : coins arrondis 17">
              <a:extLst>
                <a:ext uri="{FF2B5EF4-FFF2-40B4-BE49-F238E27FC236}">
                  <a16:creationId xmlns:a16="http://schemas.microsoft.com/office/drawing/2014/main" id="{817BAD2D-1633-1664-E2D2-693C54AA4C08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4" name="Rectangle : coins arrondis 18">
              <a:extLst>
                <a:ext uri="{FF2B5EF4-FFF2-40B4-BE49-F238E27FC236}">
                  <a16:creationId xmlns:a16="http://schemas.microsoft.com/office/drawing/2014/main" id="{50CFE035-377F-6EE2-F107-D07591654614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69821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753465-92B0-C154-295F-05B2507FB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77816DE-8744-692D-8860-C84E60E095E0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1D98E1C-5A43-895D-7702-FE45C1A5B8B0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DFD6504F-8C7D-A2D0-F914-E87848B43B3D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E3A969E0-DCB5-3953-BD30-B362E2C4EFCD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9C6E40F0-9FC5-3C17-A706-0570080BC0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08C04583-5370-C537-B221-ACE73DC0C51D}"/>
              </a:ext>
            </a:extLst>
          </p:cNvPr>
          <p:cNvSpPr txBox="1"/>
          <p:nvPr/>
        </p:nvSpPr>
        <p:spPr>
          <a:xfrm>
            <a:off x="1277409" y="476672"/>
            <a:ext cx="69826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 سنتذكر الخطوات الأربع لحل مسألة</a:t>
            </a:r>
          </a:p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ن يذكرنا بالخطوة الأولى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562E8E91-B0A2-62B4-BC82-D1FAA971021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1559268"/>
            <a:ext cx="4137193" cy="352743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FF3221F-A1C1-84BB-4FF7-1550C221508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38" y="506895"/>
            <a:ext cx="1190368" cy="863921"/>
          </a:xfrm>
          <a:prstGeom prst="rect">
            <a:avLst/>
          </a:prstGeom>
        </p:spPr>
      </p:pic>
      <p:grpSp>
        <p:nvGrpSpPr>
          <p:cNvPr id="11" name="Groupe 13">
            <a:extLst>
              <a:ext uri="{FF2B5EF4-FFF2-40B4-BE49-F238E27FC236}">
                <a16:creationId xmlns:a16="http://schemas.microsoft.com/office/drawing/2014/main" id="{89FCF219-DB74-6C29-743B-7C7200CBE01D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2" name="Rectangle : coins arrondis 14">
              <a:extLst>
                <a:ext uri="{FF2B5EF4-FFF2-40B4-BE49-F238E27FC236}">
                  <a16:creationId xmlns:a16="http://schemas.microsoft.com/office/drawing/2014/main" id="{AEA433DF-178D-AD9E-C174-165D12159D86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3" name="Rectangle : coins arrondis 15">
              <a:extLst>
                <a:ext uri="{FF2B5EF4-FFF2-40B4-BE49-F238E27FC236}">
                  <a16:creationId xmlns:a16="http://schemas.microsoft.com/office/drawing/2014/main" id="{BBE2D004-7ED0-A22E-8C5E-A199F154D856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4" name="Rectangle : coins arrondis 16">
              <a:extLst>
                <a:ext uri="{FF2B5EF4-FFF2-40B4-BE49-F238E27FC236}">
                  <a16:creationId xmlns:a16="http://schemas.microsoft.com/office/drawing/2014/main" id="{7DF030F7-E661-60B5-570F-596AE31C5E71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0" name="Rectangle : coins arrondis 17">
              <a:extLst>
                <a:ext uri="{FF2B5EF4-FFF2-40B4-BE49-F238E27FC236}">
                  <a16:creationId xmlns:a16="http://schemas.microsoft.com/office/drawing/2014/main" id="{BC957511-4D49-228D-2373-96179C624AAE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1" name="Rectangle : coins arrondis 18">
              <a:extLst>
                <a:ext uri="{FF2B5EF4-FFF2-40B4-BE49-F238E27FC236}">
                  <a16:creationId xmlns:a16="http://schemas.microsoft.com/office/drawing/2014/main" id="{7F425EDF-DAED-CE7E-4EA5-00758FAB2BB2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784760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82399-6BB0-C6A7-3D84-68CA3A1CA4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96E0432-E1B7-FDB0-ED08-7E0B4D1E7089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29A67AEE-9180-29E4-95D7-FF87B61CE18D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16E13A6D-459E-2DB0-D4B2-6E6984A4E982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29A2DDC5-147D-85F3-CFE0-881607E0C395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1030FAE0-D67D-9D4B-E1A4-E36EA3D996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7F566EF3-4862-826E-EA3A-184E85AC1E76}"/>
              </a:ext>
            </a:extLst>
          </p:cNvPr>
          <p:cNvSpPr txBox="1"/>
          <p:nvPr/>
        </p:nvSpPr>
        <p:spPr>
          <a:xfrm>
            <a:off x="1413141" y="429419"/>
            <a:ext cx="68469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MA" sz="24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خطوة الأولى هي:</a:t>
            </a:r>
          </a:p>
          <a:p>
            <a:pPr algn="r" rtl="1">
              <a:defRPr/>
            </a:pPr>
            <a:r>
              <a:rPr lang="ar-MA" sz="24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هي الخطوة الموالية؟ 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98D0E5A2-2548-4DCB-6096-95C47FE189E8}"/>
              </a:ext>
            </a:extLst>
          </p:cNvPr>
          <p:cNvSpPr/>
          <p:nvPr/>
        </p:nvSpPr>
        <p:spPr>
          <a:xfrm>
            <a:off x="659261" y="2078113"/>
            <a:ext cx="7792500" cy="2701774"/>
          </a:xfrm>
          <a:prstGeom prst="roundRect">
            <a:avLst/>
          </a:prstGeom>
          <a:noFill/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rgbClr val="FF0000"/>
                </a:solidFill>
              </a:rPr>
              <a:t>أستخرج المعطيات من المسألة وأمثلها في شريط؛ 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95000"/>
                  </a:schemeClr>
                </a:solidFill>
              </a:rPr>
              <a:t>أحدد إن كانت الأجزاء متساوية أم لا؛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95000"/>
                  </a:schemeClr>
                </a:solidFill>
              </a:rPr>
              <a:t>أحدد العملية المناسبة وأكتب متساوية الحل؛ 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95000"/>
                  </a:schemeClr>
                </a:solidFill>
              </a:rPr>
              <a:t>أكتب عبارة الحل .</a:t>
            </a:r>
            <a:endParaRPr lang="fr-FR" sz="3200" b="1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308299C-10DF-87A4-87CD-5AE67C205CB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38" y="506895"/>
            <a:ext cx="1190368" cy="863921"/>
          </a:xfrm>
          <a:prstGeom prst="rect">
            <a:avLst/>
          </a:prstGeom>
        </p:spPr>
      </p:pic>
      <p:grpSp>
        <p:nvGrpSpPr>
          <p:cNvPr id="2" name="Groupe 13">
            <a:extLst>
              <a:ext uri="{FF2B5EF4-FFF2-40B4-BE49-F238E27FC236}">
                <a16:creationId xmlns:a16="http://schemas.microsoft.com/office/drawing/2014/main" id="{289DCC1B-924D-B9D8-5348-FFF792C52E97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EEB00E31-DF7F-4377-8B5E-F612A79079C8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DF04AA0E-D38C-497F-6EA0-0C56734F4738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5AA2481C-D137-2C64-24AC-1587B49D5BE6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42BC3784-B78B-F271-3F7F-BFE621B6CF6B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93067060-CB0B-30CA-BEF7-DD840877DA6A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570473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0EDB72-4813-EC4F-E1EB-01D970C3F0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FE11CA9-FEE1-61EA-143F-8D0554E18745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4AC73BA-B09E-85B7-88AA-40CAED91FE36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5758D0D5-678B-3380-11FA-84A747249272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27B56F46-45DF-E859-3716-F97CF73C7D21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B74FF8FE-9290-3879-78A6-97566CE06F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E6186E46-3ACA-1B0D-4250-7B8E2EE5770E}"/>
              </a:ext>
            </a:extLst>
          </p:cNvPr>
          <p:cNvSpPr txBox="1"/>
          <p:nvPr/>
        </p:nvSpPr>
        <p:spPr>
          <a:xfrm>
            <a:off x="1413141" y="429419"/>
            <a:ext cx="68469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MA" sz="24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خطوة الثانية هي:</a:t>
            </a:r>
          </a:p>
          <a:p>
            <a:pPr algn="r" rtl="1">
              <a:defRPr/>
            </a:pPr>
            <a:r>
              <a:rPr lang="ar-MA" sz="24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هي الخطوة الموالية؟ 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9C1AAD36-2F09-69DC-4FB4-EE78369B4BBB}"/>
              </a:ext>
            </a:extLst>
          </p:cNvPr>
          <p:cNvSpPr/>
          <p:nvPr/>
        </p:nvSpPr>
        <p:spPr>
          <a:xfrm>
            <a:off x="659261" y="2078113"/>
            <a:ext cx="7792500" cy="2701774"/>
          </a:xfrm>
          <a:prstGeom prst="roundRect">
            <a:avLst/>
          </a:prstGeom>
          <a:noFill/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50000"/>
                  </a:schemeClr>
                </a:solidFill>
              </a:rPr>
              <a:t>أستخرج المعطيات من المسألة وأمثلها في شريط؛ 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rgbClr val="FF0000"/>
                </a:solidFill>
              </a:rPr>
              <a:t>أحدد إن كانت الأجزاء متساوية أم لا؛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95000"/>
                  </a:schemeClr>
                </a:solidFill>
              </a:rPr>
              <a:t>أحدد العملية المناسبة وأكتب متساوية الحل؛ 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95000"/>
                  </a:schemeClr>
                </a:solidFill>
              </a:rPr>
              <a:t>أكتب عبارة الحل .</a:t>
            </a:r>
            <a:endParaRPr lang="fr-FR" sz="3200" b="1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B3C7260-AA30-0F25-28D5-C358EC1D47E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38" y="506895"/>
            <a:ext cx="1190368" cy="863921"/>
          </a:xfrm>
          <a:prstGeom prst="rect">
            <a:avLst/>
          </a:prstGeom>
        </p:spPr>
      </p:pic>
      <p:grpSp>
        <p:nvGrpSpPr>
          <p:cNvPr id="2" name="Groupe 13">
            <a:extLst>
              <a:ext uri="{FF2B5EF4-FFF2-40B4-BE49-F238E27FC236}">
                <a16:creationId xmlns:a16="http://schemas.microsoft.com/office/drawing/2014/main" id="{2741C184-7B4F-96E8-FF73-6195CBAB0C66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A228336A-2145-3ABB-71AD-0962ACA5B89A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8F92C245-8E81-BB3D-AFCE-734724B66552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D9FBE3E6-54D1-5BCC-4FD5-08CFBDB8D857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9680DE60-8B68-F81B-21B1-6FD90F38FDE9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1B9775C9-C52F-DCA7-2A17-5A101598C35F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352772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169DD6-7D81-9D50-3E1E-45BEB21DAC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697C9D6-86AF-ABD3-A7F9-9AB5174031FA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DA848910-E84E-D1D8-1AEE-92E81C348BA4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7331AE7D-9B81-5387-6567-152581C1030B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24032F42-0140-C087-6226-02E32D25E6BB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977BC7F3-F120-707C-08E1-1B34A4BE17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42159A23-7ABE-71B6-067F-461A508D056F}"/>
              </a:ext>
            </a:extLst>
          </p:cNvPr>
          <p:cNvSpPr txBox="1"/>
          <p:nvPr/>
        </p:nvSpPr>
        <p:spPr>
          <a:xfrm>
            <a:off x="1413141" y="402753"/>
            <a:ext cx="68469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MA" sz="24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خطوة الثالثة هي:</a:t>
            </a:r>
          </a:p>
          <a:p>
            <a:pPr algn="r" rtl="1">
              <a:defRPr/>
            </a:pPr>
            <a:r>
              <a:rPr lang="ar-MA" sz="24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هي الخطوة الموالية؟ 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0B4DE3FA-2060-3ED0-A84A-4846645046DB}"/>
              </a:ext>
            </a:extLst>
          </p:cNvPr>
          <p:cNvSpPr/>
          <p:nvPr/>
        </p:nvSpPr>
        <p:spPr>
          <a:xfrm>
            <a:off x="659261" y="2078113"/>
            <a:ext cx="7792500" cy="2701774"/>
          </a:xfrm>
          <a:prstGeom prst="roundRect">
            <a:avLst/>
          </a:prstGeom>
          <a:noFill/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50000"/>
                  </a:schemeClr>
                </a:solidFill>
              </a:rPr>
              <a:t>أستخرج المعطيات من المسألة وأمثلها في شريط؛ 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50000"/>
                  </a:schemeClr>
                </a:solidFill>
              </a:rPr>
              <a:t>أحدد إن كانت الأجزاء متساوية أم لا؛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rgbClr val="FF0000"/>
                </a:solidFill>
              </a:rPr>
              <a:t>أحدد العملية المناسبة وأكتب متساوية الحل؛ 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95000"/>
                  </a:schemeClr>
                </a:solidFill>
              </a:rPr>
              <a:t>أكتب عبارة الحل .</a:t>
            </a:r>
            <a:endParaRPr lang="fr-FR" sz="3200" b="1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7B4C275-97AB-2F22-A04A-B2DC4F4286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38" y="506895"/>
            <a:ext cx="1190368" cy="863921"/>
          </a:xfrm>
          <a:prstGeom prst="rect">
            <a:avLst/>
          </a:prstGeom>
        </p:spPr>
      </p:pic>
      <p:grpSp>
        <p:nvGrpSpPr>
          <p:cNvPr id="2" name="Groupe 13">
            <a:extLst>
              <a:ext uri="{FF2B5EF4-FFF2-40B4-BE49-F238E27FC236}">
                <a16:creationId xmlns:a16="http://schemas.microsoft.com/office/drawing/2014/main" id="{37D4427A-C1DD-EFD9-33BB-08C5BE5CF9FE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FA2563B7-1B17-A977-6C8E-5F9BEB3A1233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076DEE62-ACD9-ABA5-7B9B-AE415AAD6CA1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4C96948F-AAA6-297E-DEFB-D5EBCBD79047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D6A6C59B-0BE8-A912-B48C-5B42222AC239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F49D65EF-9325-ECA4-209B-167AD41909C4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3315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254000" y="736600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3E8F-A2D4-86F5-970B-0187137D8890}"/>
              </a:ext>
            </a:extLst>
          </p:cNvPr>
          <p:cNvSpPr txBox="1"/>
          <p:nvPr/>
        </p:nvSpPr>
        <p:spPr>
          <a:xfrm>
            <a:off x="1637972" y="1348424"/>
            <a:ext cx="6164669" cy="67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ند نهاية الحصة</a:t>
            </a:r>
          </a:p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fr-FR" sz="3334" b="1" kern="0" dirty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1DB1C-D298-6B57-4318-C68FD8DCE947}"/>
              </a:ext>
            </a:extLst>
          </p:cNvPr>
          <p:cNvSpPr txBox="1"/>
          <p:nvPr/>
        </p:nvSpPr>
        <p:spPr>
          <a:xfrm>
            <a:off x="1359139" y="1783677"/>
            <a:ext cx="6164669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1">
              <a:spcAft>
                <a:spcPts val="600"/>
              </a:spcAft>
            </a:pP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لى الأقل </a:t>
            </a:r>
            <a:r>
              <a:rPr lang="fr-FR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%</a:t>
            </a: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من المتعلمين سيكونون قادرين على</a:t>
            </a:r>
            <a:r>
              <a:rPr lang="en-GB" sz="2667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fr-FR" sz="2667" b="1" kern="0" dirty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D6A3147-0DFC-AF15-491E-F043AF0F253C}"/>
              </a:ext>
            </a:extLst>
          </p:cNvPr>
          <p:cNvSpPr/>
          <p:nvPr/>
        </p:nvSpPr>
        <p:spPr>
          <a:xfrm>
            <a:off x="7162800" y="3306938"/>
            <a:ext cx="361008" cy="349749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D14C045-02D3-7077-7653-8FE29C9975B9}"/>
              </a:ext>
            </a:extLst>
          </p:cNvPr>
          <p:cNvSpPr/>
          <p:nvPr/>
        </p:nvSpPr>
        <p:spPr>
          <a:xfrm>
            <a:off x="791580" y="2442049"/>
            <a:ext cx="7560840" cy="1604735"/>
          </a:xfrm>
          <a:prstGeom prst="roundRect">
            <a:avLst/>
          </a:prstGeom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44A9ABB-B6D8-B950-929F-5A5DA55A0CFC}"/>
              </a:ext>
            </a:extLst>
          </p:cNvPr>
          <p:cNvCxnSpPr>
            <a:cxnSpLocks/>
          </p:cNvCxnSpPr>
          <p:nvPr/>
        </p:nvCxnSpPr>
        <p:spPr>
          <a:xfrm>
            <a:off x="1363288" y="2695216"/>
            <a:ext cx="601594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EC7C736E-6720-8E83-2E6B-3FEEE13353BB}"/>
              </a:ext>
            </a:extLst>
          </p:cNvPr>
          <p:cNvSpPr/>
          <p:nvPr/>
        </p:nvSpPr>
        <p:spPr>
          <a:xfrm>
            <a:off x="7431590" y="2923517"/>
            <a:ext cx="361008" cy="349749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96D4D483-5B07-B4C2-3F60-E0B712665810}"/>
              </a:ext>
            </a:extLst>
          </p:cNvPr>
          <p:cNvCxnSpPr>
            <a:cxnSpLocks/>
          </p:cNvCxnSpPr>
          <p:nvPr/>
        </p:nvCxnSpPr>
        <p:spPr>
          <a:xfrm>
            <a:off x="1516503" y="3554398"/>
            <a:ext cx="600730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11">
            <a:extLst>
              <a:ext uri="{FF2B5EF4-FFF2-40B4-BE49-F238E27FC236}">
                <a16:creationId xmlns:a16="http://schemas.microsoft.com/office/drawing/2014/main" id="{D188A3A6-6E03-DA77-FE1A-D1222ED30B6B}"/>
              </a:ext>
            </a:extLst>
          </p:cNvPr>
          <p:cNvSpPr txBox="1"/>
          <p:nvPr/>
        </p:nvSpPr>
        <p:spPr>
          <a:xfrm>
            <a:off x="827584" y="2777490"/>
            <a:ext cx="6515720" cy="56836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  <a:spcAft>
                <a:spcPts val="600"/>
              </a:spcAft>
            </a:pPr>
            <a:r>
              <a:rPr lang="ar-MA" sz="23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حل المسائل باعتماد نموذج الأشرطة (البحث عن الجزء أو الكل)</a:t>
            </a:r>
          </a:p>
        </p:txBody>
      </p:sp>
      <p:sp>
        <p:nvSpPr>
          <p:cNvPr id="9" name="Rectangle: Rounded Corners 11">
            <a:extLst>
              <a:ext uri="{FF2B5EF4-FFF2-40B4-BE49-F238E27FC236}">
                <a16:creationId xmlns:a16="http://schemas.microsoft.com/office/drawing/2014/main" id="{87ABFEAB-49FE-F221-7F78-6CDBDF9582C8}"/>
              </a:ext>
            </a:extLst>
          </p:cNvPr>
          <p:cNvSpPr/>
          <p:nvPr/>
        </p:nvSpPr>
        <p:spPr>
          <a:xfrm>
            <a:off x="791580" y="4147498"/>
            <a:ext cx="7560840" cy="1604735"/>
          </a:xfrm>
          <a:prstGeom prst="roundRect">
            <a:avLst/>
          </a:prstGeom>
          <a:ln/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cxnSp>
        <p:nvCxnSpPr>
          <p:cNvPr id="10" name="Straight Connector 16">
            <a:extLst>
              <a:ext uri="{FF2B5EF4-FFF2-40B4-BE49-F238E27FC236}">
                <a16:creationId xmlns:a16="http://schemas.microsoft.com/office/drawing/2014/main" id="{B8D2B2BA-9D10-D038-74DF-6142EF12CD77}"/>
              </a:ext>
            </a:extLst>
          </p:cNvPr>
          <p:cNvCxnSpPr>
            <a:cxnSpLocks/>
          </p:cNvCxnSpPr>
          <p:nvPr/>
        </p:nvCxnSpPr>
        <p:spPr>
          <a:xfrm>
            <a:off x="1363288" y="4400665"/>
            <a:ext cx="601594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6">
            <a:extLst>
              <a:ext uri="{FF2B5EF4-FFF2-40B4-BE49-F238E27FC236}">
                <a16:creationId xmlns:a16="http://schemas.microsoft.com/office/drawing/2014/main" id="{54BF9B9D-1B76-ACFD-ED8A-F323FAC943FB}"/>
              </a:ext>
            </a:extLst>
          </p:cNvPr>
          <p:cNvCxnSpPr>
            <a:cxnSpLocks/>
          </p:cNvCxnSpPr>
          <p:nvPr/>
        </p:nvCxnSpPr>
        <p:spPr>
          <a:xfrm>
            <a:off x="1516503" y="5259847"/>
            <a:ext cx="600730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1">
            <a:extLst>
              <a:ext uri="{FF2B5EF4-FFF2-40B4-BE49-F238E27FC236}">
                <a16:creationId xmlns:a16="http://schemas.microsoft.com/office/drawing/2014/main" id="{7BA607E1-E97E-D82E-1061-060767A9B277}"/>
              </a:ext>
            </a:extLst>
          </p:cNvPr>
          <p:cNvSpPr txBox="1"/>
          <p:nvPr/>
        </p:nvSpPr>
        <p:spPr>
          <a:xfrm>
            <a:off x="827584" y="4482939"/>
            <a:ext cx="6515720" cy="56836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  <a:spcAft>
                <a:spcPts val="600"/>
              </a:spcAft>
            </a:pPr>
            <a:r>
              <a:rPr lang="ar-MA" sz="23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حل المسائل : البحث عن الكل أو الجزء باستعمال أشرطة </a:t>
            </a:r>
          </a:p>
        </p:txBody>
      </p:sp>
      <p:sp>
        <p:nvSpPr>
          <p:cNvPr id="15" name="Oval 23">
            <a:extLst>
              <a:ext uri="{FF2B5EF4-FFF2-40B4-BE49-F238E27FC236}">
                <a16:creationId xmlns:a16="http://schemas.microsoft.com/office/drawing/2014/main" id="{161ACBB9-B47A-531D-59AC-9536EA762735}"/>
              </a:ext>
            </a:extLst>
          </p:cNvPr>
          <p:cNvSpPr/>
          <p:nvPr/>
        </p:nvSpPr>
        <p:spPr>
          <a:xfrm>
            <a:off x="7436998" y="4576232"/>
            <a:ext cx="361008" cy="349749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pic>
        <p:nvPicPr>
          <p:cNvPr id="16" name="Image 15" descr="Une image contenant Police, cercle, Graphique, logo&#10;&#10;Le contenu généré par l’IA peut être incorrect.">
            <a:extLst>
              <a:ext uri="{FF2B5EF4-FFF2-40B4-BE49-F238E27FC236}">
                <a16:creationId xmlns:a16="http://schemas.microsoft.com/office/drawing/2014/main" id="{EE005852-C8A6-B58F-804A-6720316544D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04" y="4422963"/>
            <a:ext cx="957837" cy="1172574"/>
          </a:xfrm>
          <a:prstGeom prst="rect">
            <a:avLst/>
          </a:prstGeom>
        </p:spPr>
      </p:pic>
      <p:pic>
        <p:nvPicPr>
          <p:cNvPr id="20" name="Image 19" descr="Une image contenant Police, Graphique, logo, texte&#10;&#10;Le contenu généré par l’IA peut être incorrect.">
            <a:extLst>
              <a:ext uri="{FF2B5EF4-FFF2-40B4-BE49-F238E27FC236}">
                <a16:creationId xmlns:a16="http://schemas.microsoft.com/office/drawing/2014/main" id="{3C95C885-097D-FB3D-07A9-68932BDF696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571" y="2750351"/>
            <a:ext cx="978027" cy="119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15425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B532D-77D7-5ACD-D87F-50691622D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B4A815F-58A3-7F70-A56C-9EE8605ACB79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3AF36CDD-ED35-3CB4-4ACD-F6E1EE7B0D61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7AEC8486-AED3-753C-E613-7300036B3DAF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5BDAF504-DAF9-F6C1-9780-9362F925394A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760D57E5-6B9C-7DB4-B014-8F7D3D420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427652" cy="408250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430BF4D3-A6C4-7FAF-AB73-C7C895421CF9}"/>
              </a:ext>
            </a:extLst>
          </p:cNvPr>
          <p:cNvSpPr txBox="1"/>
          <p:nvPr/>
        </p:nvSpPr>
        <p:spPr>
          <a:xfrm>
            <a:off x="1325497" y="476672"/>
            <a:ext cx="68469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MA" sz="24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خطوة الرابعة هي: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34C4A81-A017-1453-56F3-939AA9A50BBD}"/>
              </a:ext>
            </a:extLst>
          </p:cNvPr>
          <p:cNvSpPr/>
          <p:nvPr/>
        </p:nvSpPr>
        <p:spPr>
          <a:xfrm>
            <a:off x="659261" y="2078113"/>
            <a:ext cx="7792500" cy="2701774"/>
          </a:xfrm>
          <a:prstGeom prst="roundRect">
            <a:avLst/>
          </a:prstGeom>
          <a:noFill/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50000"/>
                  </a:schemeClr>
                </a:solidFill>
              </a:rPr>
              <a:t>أستخرج المعطيات من المسألة وأمثلها في شريط؛ 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50000"/>
                  </a:schemeClr>
                </a:solidFill>
              </a:rPr>
              <a:t>أحدد إن كانت الأجزاء متساوية أم لا؛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chemeClr val="bg1">
                    <a:lumMod val="50000"/>
                  </a:schemeClr>
                </a:solidFill>
              </a:rPr>
              <a:t>أحدد العملية المناسبة وأكتب متساوية الحل؛ </a:t>
            </a:r>
          </a:p>
          <a:p>
            <a:pPr marL="514350" indent="-514350" algn="r" rtl="1">
              <a:buFont typeface="+mj-lt"/>
              <a:buAutoNum type="arabicPeriod"/>
            </a:pPr>
            <a:r>
              <a:rPr lang="ar-MA" sz="3200" b="1" dirty="0">
                <a:solidFill>
                  <a:srgbClr val="FF0000"/>
                </a:solidFill>
              </a:rPr>
              <a:t>أكتب عبارة الحل .</a:t>
            </a:r>
            <a:endParaRPr lang="fr-FR" sz="3200" b="1" dirty="0">
              <a:solidFill>
                <a:srgbClr val="FF0000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E57BC8D-83BC-5F1B-2775-7542F0A824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38" y="506895"/>
            <a:ext cx="1190368" cy="863921"/>
          </a:xfrm>
          <a:prstGeom prst="rect">
            <a:avLst/>
          </a:prstGeom>
        </p:spPr>
      </p:pic>
      <p:grpSp>
        <p:nvGrpSpPr>
          <p:cNvPr id="2" name="Groupe 13">
            <a:extLst>
              <a:ext uri="{FF2B5EF4-FFF2-40B4-BE49-F238E27FC236}">
                <a16:creationId xmlns:a16="http://schemas.microsoft.com/office/drawing/2014/main" id="{293B0A21-9A37-FBB2-3295-02ADC983F7B8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00E9FE40-072C-99AB-4DBD-F3F2E1E175CE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1E830A55-5DDE-7FBF-25F1-49BF34DE87B3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CBD2E51F-3475-59DB-E424-A0D76AAFBA47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D91DCEF1-9DEB-883A-9A11-2507871FF12B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4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F627675A-18D9-0A15-9917-0082BA5F9FDD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76583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242D67-BFEF-4B5D-3DE1-15CAC9D607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242D67-BFEF-4B5D-3DE1-15CAC9D60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574801" y="2260600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الممارسة الموجهة 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pic>
        <p:nvPicPr>
          <p:cNvPr id="5" name="Image 12">
            <a:extLst>
              <a:ext uri="{FF2B5EF4-FFF2-40B4-BE49-F238E27FC236}">
                <a16:creationId xmlns:a16="http://schemas.microsoft.com/office/drawing/2014/main" id="{6B648B92-E3C8-11B4-4206-CC50215B184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7195724" y="3204149"/>
            <a:ext cx="812326" cy="4497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E1D4593-8EE1-8254-4D60-5DCB88F8CCD4}"/>
              </a:ext>
            </a:extLst>
          </p:cNvPr>
          <p:cNvSpPr/>
          <p:nvPr/>
        </p:nvSpPr>
        <p:spPr>
          <a:xfrm>
            <a:off x="2202381" y="3189136"/>
            <a:ext cx="5175375" cy="13923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4" rtl="1">
              <a:lnSpc>
                <a:spcPts val="5486"/>
              </a:lnSpc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أنجز بمساعدة أستاذي أو أستاذتي</a:t>
            </a:r>
          </a:p>
          <a:p>
            <a:pPr algn="ctr" defTabSz="685834" rtl="1">
              <a:lnSpc>
                <a:spcPts val="5486"/>
              </a:lnSpc>
              <a:defRPr/>
            </a:pPr>
            <a:r>
              <a:rPr lang="ar-MA" sz="32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 </a:t>
            </a:r>
          </a:p>
          <a:p>
            <a:pPr algn="ctr"/>
            <a:endParaRPr lang="en-US" sz="1200" dirty="0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9BABF6-2B01-DF6D-933A-0994B991660A}"/>
              </a:ext>
            </a:extLst>
          </p:cNvPr>
          <p:cNvGrpSpPr/>
          <p:nvPr/>
        </p:nvGrpSpPr>
        <p:grpSpPr>
          <a:xfrm>
            <a:off x="3979255" y="3676166"/>
            <a:ext cx="1635152" cy="1477553"/>
            <a:chOff x="3664087" y="4581128"/>
            <a:chExt cx="1635152" cy="1477553"/>
          </a:xfrm>
        </p:grpSpPr>
        <p:pic>
          <p:nvPicPr>
            <p:cNvPr id="12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0D463967-E0AE-690D-04A9-23325C4C7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4087" y="4581128"/>
              <a:ext cx="1621629" cy="1477553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7168C06-5399-CD71-3F80-0CD5C4F7B28A}"/>
                </a:ext>
              </a:extLst>
            </p:cNvPr>
            <p:cNvSpPr/>
            <p:nvPr/>
          </p:nvSpPr>
          <p:spPr>
            <a:xfrm>
              <a:off x="3736855" y="5642853"/>
              <a:ext cx="1562384" cy="3998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 دقيقة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392326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09360D-596B-31E4-1647-19F806913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EC4135F-853C-0ABB-FB11-50A884916E7E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593ADEB0-6722-B8E8-DD7E-4CA8E2341A56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0788E203-F0B5-5C23-9AB2-17587FC02978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F88731E4-DF5E-C1F1-8D5B-0C4220C55C5A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B442060C-C652-9D67-FE08-BB440F1C7C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536836" y="572478"/>
            <a:ext cx="427652" cy="408250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0ED2F419-1761-783F-0DAC-F54C00EC1402}"/>
              </a:ext>
            </a:extLst>
          </p:cNvPr>
          <p:cNvSpPr txBox="1"/>
          <p:nvPr/>
        </p:nvSpPr>
        <p:spPr>
          <a:xfrm>
            <a:off x="3196580" y="526148"/>
            <a:ext cx="53869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MA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لى دفاتركم، ستقومون بحل المسألة باتباع الخطوات الأربع التالية:</a:t>
            </a:r>
          </a:p>
          <a:p>
            <a:pPr algn="r" rtl="1">
              <a:defRPr/>
            </a:pPr>
            <a:r>
              <a:rPr lang="ar-MA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مر بين الصفوف لتقديم المساعدة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D10A7F7-B46F-B75D-62E1-4372A6F89A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7" y="404664"/>
            <a:ext cx="2016225" cy="129614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B62AA5E-3140-8103-4D4C-9A217BC7CA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92623"/>
            <a:ext cx="2947251" cy="121705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AA6D9B1F-6EA4-F2EB-BBB0-E40B417B84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4963" y="1748512"/>
            <a:ext cx="8208912" cy="4344784"/>
          </a:xfrm>
          <a:prstGeom prst="rect">
            <a:avLst/>
          </a:prstGeom>
        </p:spPr>
      </p:pic>
      <p:grpSp>
        <p:nvGrpSpPr>
          <p:cNvPr id="18" name="Groupe 13">
            <a:extLst>
              <a:ext uri="{FF2B5EF4-FFF2-40B4-BE49-F238E27FC236}">
                <a16:creationId xmlns:a16="http://schemas.microsoft.com/office/drawing/2014/main" id="{16F131C9-6B89-66B3-E417-217E69B6F0D2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9" name="Rectangle : coins arrondis 14">
              <a:extLst>
                <a:ext uri="{FF2B5EF4-FFF2-40B4-BE49-F238E27FC236}">
                  <a16:creationId xmlns:a16="http://schemas.microsoft.com/office/drawing/2014/main" id="{31EE5BB8-0A52-3DE4-829F-E6211EE9014F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20" name="Rectangle : coins arrondis 15">
              <a:extLst>
                <a:ext uri="{FF2B5EF4-FFF2-40B4-BE49-F238E27FC236}">
                  <a16:creationId xmlns:a16="http://schemas.microsoft.com/office/drawing/2014/main" id="{20353A78-E796-35C6-D6E1-6C631A44B502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3" name="Rectangle : coins arrondis 16">
              <a:extLst>
                <a:ext uri="{FF2B5EF4-FFF2-40B4-BE49-F238E27FC236}">
                  <a16:creationId xmlns:a16="http://schemas.microsoft.com/office/drawing/2014/main" id="{2EA963C4-7CE7-8DEC-5D42-5F0E79EA3564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4" name="Rectangle : coins arrondis 17">
              <a:extLst>
                <a:ext uri="{FF2B5EF4-FFF2-40B4-BE49-F238E27FC236}">
                  <a16:creationId xmlns:a16="http://schemas.microsoft.com/office/drawing/2014/main" id="{87443D8F-282A-E2CF-9C34-772FF837202A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5" name="Rectangle : coins arrondis 18">
              <a:extLst>
                <a:ext uri="{FF2B5EF4-FFF2-40B4-BE49-F238E27FC236}">
                  <a16:creationId xmlns:a16="http://schemas.microsoft.com/office/drawing/2014/main" id="{2B858D9F-289E-363D-F2C5-556F52DF3D88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grpSp>
        <p:nvGrpSpPr>
          <p:cNvPr id="2" name="Group 67">
            <a:extLst>
              <a:ext uri="{FF2B5EF4-FFF2-40B4-BE49-F238E27FC236}">
                <a16:creationId xmlns:a16="http://schemas.microsoft.com/office/drawing/2014/main" id="{3139CC96-3287-BD7B-1AFC-08C616098A05}"/>
              </a:ext>
            </a:extLst>
          </p:cNvPr>
          <p:cNvGrpSpPr/>
          <p:nvPr/>
        </p:nvGrpSpPr>
        <p:grpSpPr>
          <a:xfrm>
            <a:off x="3392814" y="549990"/>
            <a:ext cx="1131745" cy="927593"/>
            <a:chOff x="1324314" y="2022921"/>
            <a:chExt cx="1656987" cy="1643283"/>
          </a:xfrm>
        </p:grpSpPr>
        <p:pic>
          <p:nvPicPr>
            <p:cNvPr id="4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B1755A4C-1FBB-7B2D-BE17-6B8CFA960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4" y="2022921"/>
              <a:ext cx="1643283" cy="1643283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EB96D72-2A8E-8F0D-836F-6607E67860F8}"/>
                </a:ext>
              </a:extLst>
            </p:cNvPr>
            <p:cNvSpPr/>
            <p:nvPr/>
          </p:nvSpPr>
          <p:spPr>
            <a:xfrm>
              <a:off x="1398054" y="3203735"/>
              <a:ext cx="1583247" cy="4447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 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095111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17909-E99D-381A-C805-0ABD257CA0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152E3DD-06A1-CC3A-E29F-00770D71BCD5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4C7916C-E9CA-FCEF-2DB6-F627453F915E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20AC2160-D218-5C95-5506-C199AF8B69C5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0F1ED549-11D9-1835-8290-6F705CD65384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C3E1E861-BD37-2183-C38C-90686821F2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210DCEE9-91CE-EE27-3A81-68ACC23903F3}"/>
              </a:ext>
            </a:extLst>
          </p:cNvPr>
          <p:cNvSpPr txBox="1"/>
          <p:nvPr/>
        </p:nvSpPr>
        <p:spPr>
          <a:xfrm>
            <a:off x="1043608" y="547024"/>
            <a:ext cx="72164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يمر الأستاذ(ة) بين الصفوف لتتبع المتعلمين ولتقديم المساعدة</a:t>
            </a:r>
            <a:r>
              <a:rPr lang="ar-MA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b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تخصص 5 دقائق للتصحيح الجماعي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6E86E0-F64C-2CF3-1343-9BB38CA9E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680" y="1731787"/>
            <a:ext cx="6068905" cy="4192236"/>
          </a:xfrm>
          <a:prstGeom prst="rect">
            <a:avLst/>
          </a:prstGeom>
        </p:spPr>
      </p:pic>
      <p:grpSp>
        <p:nvGrpSpPr>
          <p:cNvPr id="2" name="Group 67">
            <a:extLst>
              <a:ext uri="{FF2B5EF4-FFF2-40B4-BE49-F238E27FC236}">
                <a16:creationId xmlns:a16="http://schemas.microsoft.com/office/drawing/2014/main" id="{51C5DB47-E7A0-F066-732A-897EE3EDE1FE}"/>
              </a:ext>
            </a:extLst>
          </p:cNvPr>
          <p:cNvGrpSpPr/>
          <p:nvPr/>
        </p:nvGrpSpPr>
        <p:grpSpPr>
          <a:xfrm>
            <a:off x="517504" y="267893"/>
            <a:ext cx="1131745" cy="927593"/>
            <a:chOff x="1324314" y="2022921"/>
            <a:chExt cx="1656987" cy="1643283"/>
          </a:xfrm>
        </p:grpSpPr>
        <p:pic>
          <p:nvPicPr>
            <p:cNvPr id="8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F2D49584-1FD3-6839-E1C8-1C091DAA87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4" y="2022921"/>
              <a:ext cx="1643283" cy="1643283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0710DD8-E64E-FA42-2508-2C65EE3534B5}"/>
                </a:ext>
              </a:extLst>
            </p:cNvPr>
            <p:cNvSpPr/>
            <p:nvPr/>
          </p:nvSpPr>
          <p:spPr>
            <a:xfrm>
              <a:off x="1398054" y="3203735"/>
              <a:ext cx="1583247" cy="4447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 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" name="Groupe 13">
            <a:extLst>
              <a:ext uri="{FF2B5EF4-FFF2-40B4-BE49-F238E27FC236}">
                <a16:creationId xmlns:a16="http://schemas.microsoft.com/office/drawing/2014/main" id="{0B23C417-3222-1B7D-2CCD-C3BB769B48DB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7" name="Rectangle : coins arrondis 14">
              <a:extLst>
                <a:ext uri="{FF2B5EF4-FFF2-40B4-BE49-F238E27FC236}">
                  <a16:creationId xmlns:a16="http://schemas.microsoft.com/office/drawing/2014/main" id="{EED48307-177D-AF9D-5439-1B5473A6797A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8" name="Rectangle : coins arrondis 15">
              <a:extLst>
                <a:ext uri="{FF2B5EF4-FFF2-40B4-BE49-F238E27FC236}">
                  <a16:creationId xmlns:a16="http://schemas.microsoft.com/office/drawing/2014/main" id="{D6250B03-8678-AD2A-0835-7B2656A0B40B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9" name="Rectangle : coins arrondis 16">
              <a:extLst>
                <a:ext uri="{FF2B5EF4-FFF2-40B4-BE49-F238E27FC236}">
                  <a16:creationId xmlns:a16="http://schemas.microsoft.com/office/drawing/2014/main" id="{F8C41EF1-ED93-B62F-3FE9-618237FCA064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0" name="Rectangle : coins arrondis 17">
              <a:extLst>
                <a:ext uri="{FF2B5EF4-FFF2-40B4-BE49-F238E27FC236}">
                  <a16:creationId xmlns:a16="http://schemas.microsoft.com/office/drawing/2014/main" id="{D2A7B77E-7486-8E7B-B92D-1832828605C9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3" name="Rectangle : coins arrondis 18">
              <a:extLst>
                <a:ext uri="{FF2B5EF4-FFF2-40B4-BE49-F238E27FC236}">
                  <a16:creationId xmlns:a16="http://schemas.microsoft.com/office/drawing/2014/main" id="{B1D1612F-13AF-7F2D-7E10-437F29E0C1F5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32677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419014-1DC2-CF6A-AA70-F18EEFD97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CE488F1-A0AE-884A-4BC2-F90462775CAE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1DA3C05-AEA8-7E02-2DD0-C8AE09A6C71D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0599F0A2-CBC2-D496-D538-3D2A14C74DF1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2EC4782B-1471-1EBC-1C68-F656541DD289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35B940FA-6AF4-BB04-2F74-93CBE079C6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6416" y="572478"/>
            <a:ext cx="427652" cy="408250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C81AE807-778B-91D7-AC82-78E67FB083F1}"/>
              </a:ext>
            </a:extLst>
          </p:cNvPr>
          <p:cNvSpPr txBox="1"/>
          <p:nvPr/>
        </p:nvSpPr>
        <p:spPr>
          <a:xfrm>
            <a:off x="3347142" y="384103"/>
            <a:ext cx="498277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 سنقوم بالتصحيح الجماعي خطوة بخطوة.</a:t>
            </a:r>
          </a:p>
          <a:p>
            <a:pPr algn="r" rtl="1">
              <a:defRPr/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الخطوة الأولى؟</a:t>
            </a:r>
          </a:p>
          <a:p>
            <a:pPr algn="r" rtl="1">
              <a:defRPr/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ن يحدد الأجزاء والكل؟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2A2FD4B-DFF8-60F1-3583-EF49CFC0A3D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7" y="404664"/>
            <a:ext cx="2016225" cy="129614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F881830-1894-9E1B-722C-845A61C14C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92623"/>
            <a:ext cx="2947251" cy="121705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2B3ACF4D-6230-9EA3-1FD1-3E83B56FCE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520" y="1618360"/>
            <a:ext cx="8566407" cy="5018087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82C49D7-64D0-77F0-6C0A-39ED4DD69DFA}"/>
              </a:ext>
            </a:extLst>
          </p:cNvPr>
          <p:cNvSpPr txBox="1"/>
          <p:nvPr/>
        </p:nvSpPr>
        <p:spPr>
          <a:xfrm>
            <a:off x="989043" y="4438889"/>
            <a:ext cx="2923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200 درهم المبلغ الذي دفعته الأم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42A7FD7-ADF2-1272-B821-8F191D9DE9C0}"/>
              </a:ext>
            </a:extLst>
          </p:cNvPr>
          <p:cNvSpPr txBox="1"/>
          <p:nvPr/>
        </p:nvSpPr>
        <p:spPr>
          <a:xfrm>
            <a:off x="989043" y="4808221"/>
            <a:ext cx="1196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173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A562FC22-1FDF-6AC4-C5E3-E7A9C06EC327}"/>
              </a:ext>
            </a:extLst>
          </p:cNvPr>
          <p:cNvSpPr txBox="1"/>
          <p:nvPr/>
        </p:nvSpPr>
        <p:spPr>
          <a:xfrm>
            <a:off x="2664543" y="4831403"/>
            <a:ext cx="11966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2800" b="1" dirty="0">
                <a:solidFill>
                  <a:srgbClr val="FF0000"/>
                </a:solidFill>
              </a:rPr>
              <a:t>؟</a:t>
            </a:r>
            <a:endParaRPr lang="fr-FR" sz="2800" b="1" dirty="0">
              <a:solidFill>
                <a:srgbClr val="FF0000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7435AA9-56D2-1B59-6985-0E717FA13A48}"/>
              </a:ext>
            </a:extLst>
          </p:cNvPr>
          <p:cNvSpPr txBox="1"/>
          <p:nvPr/>
        </p:nvSpPr>
        <p:spPr>
          <a:xfrm>
            <a:off x="802566" y="5294042"/>
            <a:ext cx="1689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>
                <a:solidFill>
                  <a:srgbClr val="FF0000"/>
                </a:solidFill>
              </a:rPr>
              <a:t>ثمن المشتريات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724762D-62D7-C25A-32FA-F9A5796E3CF3}"/>
              </a:ext>
            </a:extLst>
          </p:cNvPr>
          <p:cNvSpPr txBox="1"/>
          <p:nvPr/>
        </p:nvSpPr>
        <p:spPr>
          <a:xfrm>
            <a:off x="2339752" y="5294042"/>
            <a:ext cx="19486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>
                <a:solidFill>
                  <a:srgbClr val="FF0000"/>
                </a:solidFill>
              </a:rPr>
              <a:t>كم سيرد البائع على الأم؟</a:t>
            </a:r>
            <a:endParaRPr lang="fr-FR" sz="1600" b="1" dirty="0">
              <a:solidFill>
                <a:srgbClr val="FF0000"/>
              </a:solidFill>
            </a:endParaRPr>
          </a:p>
        </p:txBody>
      </p:sp>
      <p:grpSp>
        <p:nvGrpSpPr>
          <p:cNvPr id="13" name="Groupe 13">
            <a:extLst>
              <a:ext uri="{FF2B5EF4-FFF2-40B4-BE49-F238E27FC236}">
                <a16:creationId xmlns:a16="http://schemas.microsoft.com/office/drawing/2014/main" id="{CA2E603F-2619-7CF8-340A-B144A0AA5370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4" name="Rectangle : coins arrondis 14">
              <a:extLst>
                <a:ext uri="{FF2B5EF4-FFF2-40B4-BE49-F238E27FC236}">
                  <a16:creationId xmlns:a16="http://schemas.microsoft.com/office/drawing/2014/main" id="{436F6C65-BD4F-C966-45F5-DA9612DF795B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9" name="Rectangle : coins arrondis 15">
              <a:extLst>
                <a:ext uri="{FF2B5EF4-FFF2-40B4-BE49-F238E27FC236}">
                  <a16:creationId xmlns:a16="http://schemas.microsoft.com/office/drawing/2014/main" id="{070D5F20-6760-0C22-8D7A-BF85B6F435DF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1" name="Rectangle : coins arrondis 16">
              <a:extLst>
                <a:ext uri="{FF2B5EF4-FFF2-40B4-BE49-F238E27FC236}">
                  <a16:creationId xmlns:a16="http://schemas.microsoft.com/office/drawing/2014/main" id="{7F3B5E82-5045-8EE6-F2FD-1E8DCEB4CE85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3" name="Rectangle : coins arrondis 17">
              <a:extLst>
                <a:ext uri="{FF2B5EF4-FFF2-40B4-BE49-F238E27FC236}">
                  <a16:creationId xmlns:a16="http://schemas.microsoft.com/office/drawing/2014/main" id="{1EE6AA67-30D7-A904-05F8-77D39AA6128D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4" name="Rectangle : coins arrondis 18">
              <a:extLst>
                <a:ext uri="{FF2B5EF4-FFF2-40B4-BE49-F238E27FC236}">
                  <a16:creationId xmlns:a16="http://schemas.microsoft.com/office/drawing/2014/main" id="{8C78DE01-A76C-B144-D003-8698997FDF47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grpSp>
        <p:nvGrpSpPr>
          <p:cNvPr id="11" name="Group 67">
            <a:extLst>
              <a:ext uri="{FF2B5EF4-FFF2-40B4-BE49-F238E27FC236}">
                <a16:creationId xmlns:a16="http://schemas.microsoft.com/office/drawing/2014/main" id="{8E80B1F1-39EE-8B50-2534-2F66572A3B0E}"/>
              </a:ext>
            </a:extLst>
          </p:cNvPr>
          <p:cNvGrpSpPr/>
          <p:nvPr/>
        </p:nvGrpSpPr>
        <p:grpSpPr>
          <a:xfrm>
            <a:off x="3270450" y="125143"/>
            <a:ext cx="1131745" cy="927593"/>
            <a:chOff x="1324314" y="2022921"/>
            <a:chExt cx="1656987" cy="1643283"/>
          </a:xfrm>
        </p:grpSpPr>
        <p:pic>
          <p:nvPicPr>
            <p:cNvPr id="20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BB53A4FE-B5EE-6D72-5A92-66A30BAFB4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4" y="2022921"/>
              <a:ext cx="1643283" cy="1643283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6B1242A-BAE4-C8AE-27F7-070E724A0C6C}"/>
                </a:ext>
              </a:extLst>
            </p:cNvPr>
            <p:cNvSpPr/>
            <p:nvPr/>
          </p:nvSpPr>
          <p:spPr>
            <a:xfrm>
              <a:off x="1398054" y="3203735"/>
              <a:ext cx="1583247" cy="4447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 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150819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F12BB4-4A69-BA7E-9419-27FB37757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8EF6A0-B978-6080-9CFF-025323E92B1B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315D9F80-C9B1-6DEE-B022-C97E395DBD6A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149FF33E-A0F5-B0C1-9592-D8B24D1D81A4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580275F1-DA5B-03CF-5BFF-210EF9947D07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9E9EF3D0-D4B8-B607-66B6-05C9354F32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6416" y="572478"/>
            <a:ext cx="427652" cy="408250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711B53DB-0BAF-8376-1E94-D5587C007F8D}"/>
              </a:ext>
            </a:extLst>
          </p:cNvPr>
          <p:cNvSpPr txBox="1"/>
          <p:nvPr/>
        </p:nvSpPr>
        <p:spPr>
          <a:xfrm>
            <a:off x="3227986" y="424037"/>
            <a:ext cx="4982777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الخطوة الثانية؟</a:t>
            </a:r>
          </a:p>
          <a:p>
            <a:pPr algn="r" rtl="1">
              <a:defRPr/>
            </a:pPr>
            <a:r>
              <a:rPr lang="ar-MA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هل الأجزاء </a:t>
            </a:r>
            <a:r>
              <a:rPr lang="ar-MA" sz="16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تقايسة</a:t>
            </a:r>
            <a:r>
              <a:rPr lang="ar-MA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؟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7FC64A4-1C97-0EAD-33F3-530B95A396B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7" y="404664"/>
            <a:ext cx="2016225" cy="129614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0A3E53A-B509-75B0-467F-0D7634FCFD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92623"/>
            <a:ext cx="2947251" cy="121705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ADF4922-BB52-CB14-C088-5237501519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520" y="1618360"/>
            <a:ext cx="8566407" cy="5018087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8AB2FA0E-409B-9338-0242-C35012B70D3A}"/>
              </a:ext>
            </a:extLst>
          </p:cNvPr>
          <p:cNvSpPr txBox="1"/>
          <p:nvPr/>
        </p:nvSpPr>
        <p:spPr>
          <a:xfrm>
            <a:off x="989043" y="4438889"/>
            <a:ext cx="2923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200 درهم المبلغ الذي دفعته الأم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66BA712B-31F5-8411-EF26-07F5B0D5879A}"/>
              </a:ext>
            </a:extLst>
          </p:cNvPr>
          <p:cNvSpPr txBox="1"/>
          <p:nvPr/>
        </p:nvSpPr>
        <p:spPr>
          <a:xfrm>
            <a:off x="989043" y="4808221"/>
            <a:ext cx="1196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173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0F20D54-F7BD-DB09-3F96-8FBEB06B0998}"/>
              </a:ext>
            </a:extLst>
          </p:cNvPr>
          <p:cNvSpPr txBox="1"/>
          <p:nvPr/>
        </p:nvSpPr>
        <p:spPr>
          <a:xfrm>
            <a:off x="2664543" y="4831403"/>
            <a:ext cx="11966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2800" b="1" dirty="0">
                <a:solidFill>
                  <a:srgbClr val="FF0000"/>
                </a:solidFill>
              </a:rPr>
              <a:t>؟</a:t>
            </a:r>
            <a:endParaRPr lang="fr-FR" sz="2800" b="1" dirty="0">
              <a:solidFill>
                <a:srgbClr val="FF0000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DF16B55-92E1-AC56-8EC6-FE333BE8A9C5}"/>
              </a:ext>
            </a:extLst>
          </p:cNvPr>
          <p:cNvSpPr txBox="1"/>
          <p:nvPr/>
        </p:nvSpPr>
        <p:spPr>
          <a:xfrm>
            <a:off x="802566" y="5294042"/>
            <a:ext cx="1689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>
                <a:solidFill>
                  <a:srgbClr val="FF0000"/>
                </a:solidFill>
              </a:rPr>
              <a:t>ثمن المشتريات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58602CC0-0ED6-4EB8-730A-1315A1170D17}"/>
              </a:ext>
            </a:extLst>
          </p:cNvPr>
          <p:cNvSpPr txBox="1"/>
          <p:nvPr/>
        </p:nvSpPr>
        <p:spPr>
          <a:xfrm>
            <a:off x="2339752" y="5294042"/>
            <a:ext cx="19486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>
                <a:solidFill>
                  <a:srgbClr val="FF0000"/>
                </a:solidFill>
              </a:rPr>
              <a:t>كم سيرد البائع على الأم؟</a:t>
            </a:r>
            <a:endParaRPr lang="fr-FR" sz="1600" b="1" dirty="0">
              <a:solidFill>
                <a:srgbClr val="FF0000"/>
              </a:solidFill>
            </a:endParaRPr>
          </a:p>
        </p:txBody>
      </p:sp>
      <p:grpSp>
        <p:nvGrpSpPr>
          <p:cNvPr id="11" name="Groupe 13">
            <a:extLst>
              <a:ext uri="{FF2B5EF4-FFF2-40B4-BE49-F238E27FC236}">
                <a16:creationId xmlns:a16="http://schemas.microsoft.com/office/drawing/2014/main" id="{266F7A09-7591-A312-2717-04925C9EC214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3" name="Rectangle : coins arrondis 14">
              <a:extLst>
                <a:ext uri="{FF2B5EF4-FFF2-40B4-BE49-F238E27FC236}">
                  <a16:creationId xmlns:a16="http://schemas.microsoft.com/office/drawing/2014/main" id="{BBBA2F06-451A-FF45-CC13-01A36B4340BE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4" name="Rectangle : coins arrondis 15">
              <a:extLst>
                <a:ext uri="{FF2B5EF4-FFF2-40B4-BE49-F238E27FC236}">
                  <a16:creationId xmlns:a16="http://schemas.microsoft.com/office/drawing/2014/main" id="{1A0F575C-7F42-B3B9-C95E-96AF692D0CA2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9" name="Rectangle : coins arrondis 16">
              <a:extLst>
                <a:ext uri="{FF2B5EF4-FFF2-40B4-BE49-F238E27FC236}">
                  <a16:creationId xmlns:a16="http://schemas.microsoft.com/office/drawing/2014/main" id="{0E1BCA08-B5D9-E940-C59B-542786245EF7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1" name="Rectangle : coins arrondis 17">
              <a:extLst>
                <a:ext uri="{FF2B5EF4-FFF2-40B4-BE49-F238E27FC236}">
                  <a16:creationId xmlns:a16="http://schemas.microsoft.com/office/drawing/2014/main" id="{C08CB1A4-B43D-2BD7-2A83-F06499939D03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3" name="Rectangle : coins arrondis 18">
              <a:extLst>
                <a:ext uri="{FF2B5EF4-FFF2-40B4-BE49-F238E27FC236}">
                  <a16:creationId xmlns:a16="http://schemas.microsoft.com/office/drawing/2014/main" id="{ADE1DB7A-1169-77BE-5373-A46F16ED2B24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856651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0C6DA-3706-337F-DCD0-75F87F0494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FC386F9-8C77-9802-A516-23A52E456E58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4308CEE-7CC1-6F1D-A386-73F4807B9FE5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2F345EB6-8506-C86E-3B4B-FC457376E684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0BA1C7C3-0702-A867-503F-3FA872AB841F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2703A688-02EB-EDDD-0A57-5920B3CC4C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6416" y="572478"/>
            <a:ext cx="427652" cy="408250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888DCA5F-4821-6978-5B0C-7EAA20ACAF20}"/>
              </a:ext>
            </a:extLst>
          </p:cNvPr>
          <p:cNvSpPr txBox="1"/>
          <p:nvPr/>
        </p:nvSpPr>
        <p:spPr>
          <a:xfrm>
            <a:off x="3232741" y="476672"/>
            <a:ext cx="49827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الخطوة الثالثة؟</a:t>
            </a:r>
          </a:p>
          <a:p>
            <a:pPr algn="r" rtl="1">
              <a:defRPr/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العملية المناسبة؟ ولماذا؟ وما هي متساوية الحل؟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E4CB48D-1F4D-31E1-8773-5B1A7413616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7" y="404664"/>
            <a:ext cx="2016225" cy="129614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34EE681-4F9C-5F09-EEB3-ACC1D4CD56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92623"/>
            <a:ext cx="2947251" cy="121705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5105A37-762A-0F55-75AF-97CB2D52A5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520" y="1618360"/>
            <a:ext cx="8566407" cy="5018087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95585667-CBF4-29E8-95F8-11038BAC5200}"/>
              </a:ext>
            </a:extLst>
          </p:cNvPr>
          <p:cNvSpPr txBox="1"/>
          <p:nvPr/>
        </p:nvSpPr>
        <p:spPr>
          <a:xfrm>
            <a:off x="989043" y="4438889"/>
            <a:ext cx="2923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200 درهم المبلغ الذي دفعته الأم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67977196-2246-CBC3-16E1-07FE2E0AFA60}"/>
              </a:ext>
            </a:extLst>
          </p:cNvPr>
          <p:cNvSpPr txBox="1"/>
          <p:nvPr/>
        </p:nvSpPr>
        <p:spPr>
          <a:xfrm>
            <a:off x="989043" y="4808221"/>
            <a:ext cx="1196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173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A6FEAA83-C165-A16F-CB29-E2094F5D6173}"/>
              </a:ext>
            </a:extLst>
          </p:cNvPr>
          <p:cNvSpPr txBox="1"/>
          <p:nvPr/>
        </p:nvSpPr>
        <p:spPr>
          <a:xfrm>
            <a:off x="2664543" y="4831403"/>
            <a:ext cx="11966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2800" b="1" dirty="0">
                <a:solidFill>
                  <a:srgbClr val="FF0000"/>
                </a:solidFill>
              </a:rPr>
              <a:t>؟</a:t>
            </a:r>
            <a:endParaRPr lang="fr-FR" sz="2800" b="1" dirty="0">
              <a:solidFill>
                <a:srgbClr val="FF0000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F9BCBB5-E747-8282-CB60-7FCE6D46E5CE}"/>
              </a:ext>
            </a:extLst>
          </p:cNvPr>
          <p:cNvSpPr txBox="1"/>
          <p:nvPr/>
        </p:nvSpPr>
        <p:spPr>
          <a:xfrm>
            <a:off x="802566" y="5294042"/>
            <a:ext cx="1689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>
                <a:solidFill>
                  <a:srgbClr val="FF0000"/>
                </a:solidFill>
              </a:rPr>
              <a:t>ثمن المشتريات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28B69A97-91EA-A480-3651-946B37CB5B03}"/>
              </a:ext>
            </a:extLst>
          </p:cNvPr>
          <p:cNvSpPr txBox="1"/>
          <p:nvPr/>
        </p:nvSpPr>
        <p:spPr>
          <a:xfrm>
            <a:off x="2339752" y="5294042"/>
            <a:ext cx="19486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>
                <a:solidFill>
                  <a:srgbClr val="FF0000"/>
                </a:solidFill>
              </a:rPr>
              <a:t>كم سيرد البائع على الأم؟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CA66769-D7A5-600A-303C-BEAC69E71B99}"/>
              </a:ext>
            </a:extLst>
          </p:cNvPr>
          <p:cNvSpPr txBox="1"/>
          <p:nvPr/>
        </p:nvSpPr>
        <p:spPr>
          <a:xfrm>
            <a:off x="5098489" y="4840834"/>
            <a:ext cx="2923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r-FR" b="1" dirty="0">
                <a:solidFill>
                  <a:srgbClr val="FF0000"/>
                </a:solidFill>
              </a:rPr>
              <a:t>200 – 173 = 27</a:t>
            </a:r>
          </a:p>
        </p:txBody>
      </p:sp>
      <p:grpSp>
        <p:nvGrpSpPr>
          <p:cNvPr id="11" name="Groupe 13">
            <a:extLst>
              <a:ext uri="{FF2B5EF4-FFF2-40B4-BE49-F238E27FC236}">
                <a16:creationId xmlns:a16="http://schemas.microsoft.com/office/drawing/2014/main" id="{D66B1831-BECB-4C80-62B2-91AE1EE4DEEC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3" name="Rectangle : coins arrondis 14">
              <a:extLst>
                <a:ext uri="{FF2B5EF4-FFF2-40B4-BE49-F238E27FC236}">
                  <a16:creationId xmlns:a16="http://schemas.microsoft.com/office/drawing/2014/main" id="{A315A41B-BFC1-031D-F71A-33C4969BB080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4" name="Rectangle : coins arrondis 15">
              <a:extLst>
                <a:ext uri="{FF2B5EF4-FFF2-40B4-BE49-F238E27FC236}">
                  <a16:creationId xmlns:a16="http://schemas.microsoft.com/office/drawing/2014/main" id="{FC0463AC-B599-8632-F32E-E940FB171907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9" name="Rectangle : coins arrondis 16">
              <a:extLst>
                <a:ext uri="{FF2B5EF4-FFF2-40B4-BE49-F238E27FC236}">
                  <a16:creationId xmlns:a16="http://schemas.microsoft.com/office/drawing/2014/main" id="{E40BB3D7-6117-9F60-3521-FB1AA95E10C5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1" name="Rectangle : coins arrondis 17">
              <a:extLst>
                <a:ext uri="{FF2B5EF4-FFF2-40B4-BE49-F238E27FC236}">
                  <a16:creationId xmlns:a16="http://schemas.microsoft.com/office/drawing/2014/main" id="{117F929C-4248-A084-E731-8B2C77EEB1C7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3" name="Rectangle : coins arrondis 18">
              <a:extLst>
                <a:ext uri="{FF2B5EF4-FFF2-40B4-BE49-F238E27FC236}">
                  <a16:creationId xmlns:a16="http://schemas.microsoft.com/office/drawing/2014/main" id="{9C7162BD-AE64-90E9-30FF-FD9F416E2CB4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472759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D4CE7D-A19B-9375-0865-FBE2A4C71F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A0D863C-6372-9600-4A4B-7F2359B56A1A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FF23AF93-2F04-3642-9959-095675B1D1D5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85F59201-DED3-0EAC-80FF-47BA698BF9EB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1C70BD29-EE02-4467-F996-A68BE5FAF4B9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134E1BF6-947A-BE58-5DEC-67B12FB5F3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6416" y="572478"/>
            <a:ext cx="427652" cy="408250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293B31B4-E9AB-75B8-2C99-68767BB7F6A2}"/>
              </a:ext>
            </a:extLst>
          </p:cNvPr>
          <p:cNvSpPr txBox="1"/>
          <p:nvPr/>
        </p:nvSpPr>
        <p:spPr>
          <a:xfrm>
            <a:off x="3232741" y="476672"/>
            <a:ext cx="4982777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الخطوة الرابعة؟</a:t>
            </a:r>
          </a:p>
          <a:p>
            <a:pPr algn="r" rtl="1">
              <a:defRPr/>
            </a:pPr>
            <a:r>
              <a:rPr lang="ar-MA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هي عبارة الحل؟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C3E3AD4-A69A-E024-2822-3F88E011BC9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7" y="404664"/>
            <a:ext cx="2016225" cy="129614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0A6EDD25-E010-75E3-7415-450237FE4A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92623"/>
            <a:ext cx="2947251" cy="121705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612865A2-15F6-720E-85F0-260059037E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520" y="1618360"/>
            <a:ext cx="8566407" cy="5018087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771C81B-BB08-69C0-372D-2B934BAC6E01}"/>
              </a:ext>
            </a:extLst>
          </p:cNvPr>
          <p:cNvSpPr txBox="1"/>
          <p:nvPr/>
        </p:nvSpPr>
        <p:spPr>
          <a:xfrm>
            <a:off x="989043" y="4438889"/>
            <a:ext cx="2923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200 درهم المبلغ الذي دفعته الأم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D808EE-5FD0-259E-AF30-A57A0197A8F5}"/>
              </a:ext>
            </a:extLst>
          </p:cNvPr>
          <p:cNvSpPr txBox="1"/>
          <p:nvPr/>
        </p:nvSpPr>
        <p:spPr>
          <a:xfrm>
            <a:off x="989043" y="4808221"/>
            <a:ext cx="1196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173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CD5174B2-3E28-B623-BA49-C4883612F0DA}"/>
              </a:ext>
            </a:extLst>
          </p:cNvPr>
          <p:cNvSpPr txBox="1"/>
          <p:nvPr/>
        </p:nvSpPr>
        <p:spPr>
          <a:xfrm>
            <a:off x="2664543" y="4831403"/>
            <a:ext cx="11966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2800" b="1" dirty="0">
                <a:solidFill>
                  <a:srgbClr val="FF0000"/>
                </a:solidFill>
              </a:rPr>
              <a:t>؟</a:t>
            </a:r>
            <a:endParaRPr lang="fr-FR" sz="2800" b="1" dirty="0">
              <a:solidFill>
                <a:srgbClr val="FF0000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8CE5816-5C4D-1435-9AB5-D77AA2F6AD6E}"/>
              </a:ext>
            </a:extLst>
          </p:cNvPr>
          <p:cNvSpPr txBox="1"/>
          <p:nvPr/>
        </p:nvSpPr>
        <p:spPr>
          <a:xfrm>
            <a:off x="802566" y="5294042"/>
            <a:ext cx="1689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>
                <a:solidFill>
                  <a:srgbClr val="FF0000"/>
                </a:solidFill>
              </a:rPr>
              <a:t>ثمن المشتريات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0444662-A915-9888-991B-8A4C0564D28C}"/>
              </a:ext>
            </a:extLst>
          </p:cNvPr>
          <p:cNvSpPr txBox="1"/>
          <p:nvPr/>
        </p:nvSpPr>
        <p:spPr>
          <a:xfrm>
            <a:off x="2339752" y="5294042"/>
            <a:ext cx="19486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>
                <a:solidFill>
                  <a:srgbClr val="FF0000"/>
                </a:solidFill>
              </a:rPr>
              <a:t>كم سيرد البائع على الأم؟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756839F-6ACA-9C95-2EF7-3D3B5B1F2A91}"/>
              </a:ext>
            </a:extLst>
          </p:cNvPr>
          <p:cNvSpPr txBox="1"/>
          <p:nvPr/>
        </p:nvSpPr>
        <p:spPr>
          <a:xfrm>
            <a:off x="5098489" y="4840834"/>
            <a:ext cx="29230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r-FR" sz="2000" b="1" dirty="0">
                <a:solidFill>
                  <a:srgbClr val="FF0000"/>
                </a:solidFill>
              </a:rPr>
              <a:t>200 – 173 = 27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47AD3FD-ADBF-753D-81D4-A1E55B2E9402}"/>
              </a:ext>
            </a:extLst>
          </p:cNvPr>
          <p:cNvSpPr txBox="1"/>
          <p:nvPr/>
        </p:nvSpPr>
        <p:spPr>
          <a:xfrm>
            <a:off x="4427984" y="5661248"/>
            <a:ext cx="39040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المبلغ الذي  سيرده البائع على الأم هو: 27 درهم</a:t>
            </a:r>
            <a:endParaRPr lang="fr-FR" b="1" dirty="0">
              <a:solidFill>
                <a:srgbClr val="FF0000"/>
              </a:solidFill>
            </a:endParaRPr>
          </a:p>
        </p:txBody>
      </p:sp>
      <p:grpSp>
        <p:nvGrpSpPr>
          <p:cNvPr id="13" name="Groupe 13">
            <a:extLst>
              <a:ext uri="{FF2B5EF4-FFF2-40B4-BE49-F238E27FC236}">
                <a16:creationId xmlns:a16="http://schemas.microsoft.com/office/drawing/2014/main" id="{4E08CADE-4BE9-3553-64A0-8404740903F6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4" name="Rectangle : coins arrondis 14">
              <a:extLst>
                <a:ext uri="{FF2B5EF4-FFF2-40B4-BE49-F238E27FC236}">
                  <a16:creationId xmlns:a16="http://schemas.microsoft.com/office/drawing/2014/main" id="{2CD9C52B-FD71-3776-B62A-999E32C5E32C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9" name="Rectangle : coins arrondis 15">
              <a:extLst>
                <a:ext uri="{FF2B5EF4-FFF2-40B4-BE49-F238E27FC236}">
                  <a16:creationId xmlns:a16="http://schemas.microsoft.com/office/drawing/2014/main" id="{80186228-6D99-D52A-C421-D38F3979323F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1" name="Rectangle : coins arrondis 16">
              <a:extLst>
                <a:ext uri="{FF2B5EF4-FFF2-40B4-BE49-F238E27FC236}">
                  <a16:creationId xmlns:a16="http://schemas.microsoft.com/office/drawing/2014/main" id="{0A50206B-F178-6522-15F4-92F220258E3F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2" name="Rectangle : coins arrondis 17">
              <a:extLst>
                <a:ext uri="{FF2B5EF4-FFF2-40B4-BE49-F238E27FC236}">
                  <a16:creationId xmlns:a16="http://schemas.microsoft.com/office/drawing/2014/main" id="{CDC52946-7CFF-E3EF-68D9-DCBCF21D379C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3" name="Rectangle : coins arrondis 18">
              <a:extLst>
                <a:ext uri="{FF2B5EF4-FFF2-40B4-BE49-F238E27FC236}">
                  <a16:creationId xmlns:a16="http://schemas.microsoft.com/office/drawing/2014/main" id="{BB25C010-3977-DA7C-1542-AFD566343624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115346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82CDD-FB78-D455-D970-AAA9A49EBA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5F8032F-D0AF-90CE-53F4-9DF40A98F9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242D67-BFEF-4B5D-3DE1-15CAC9D60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3BD404B9-92A5-0105-15EF-991E36504F84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0E80368-0824-4934-DFF7-1F7F3BEE78F5}"/>
              </a:ext>
            </a:extLst>
          </p:cNvPr>
          <p:cNvSpPr txBox="1"/>
          <p:nvPr/>
        </p:nvSpPr>
        <p:spPr>
          <a:xfrm>
            <a:off x="1395995" y="1340768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الممارسة المستقلة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1677ABD8-1D53-79B3-E5AD-F10EDC87E128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3C91C8-2E04-8789-BFEE-639AAF5E49AD}"/>
              </a:ext>
            </a:extLst>
          </p:cNvPr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pic>
        <p:nvPicPr>
          <p:cNvPr id="5" name="Image 12">
            <a:extLst>
              <a:ext uri="{FF2B5EF4-FFF2-40B4-BE49-F238E27FC236}">
                <a16:creationId xmlns:a16="http://schemas.microsoft.com/office/drawing/2014/main" id="{606472A5-CAA3-3BE2-70BD-07384D99B16D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300629" y="2217272"/>
            <a:ext cx="812326" cy="4497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0EC8337-1B13-E370-79D7-3A43EC4CEA90}"/>
              </a:ext>
            </a:extLst>
          </p:cNvPr>
          <p:cNvSpPr/>
          <p:nvPr/>
        </p:nvSpPr>
        <p:spPr>
          <a:xfrm>
            <a:off x="2572959" y="2217272"/>
            <a:ext cx="3708400" cy="13923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4" rtl="1">
              <a:lnSpc>
                <a:spcPts val="5486"/>
              </a:lnSpc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أنجز بمفردي على كراستي</a:t>
            </a:r>
          </a:p>
          <a:p>
            <a:pPr algn="ctr" defTabSz="685834" rtl="1">
              <a:lnSpc>
                <a:spcPts val="5486"/>
              </a:lnSpc>
              <a:defRPr/>
            </a:pPr>
            <a:r>
              <a:rPr lang="ar-MA" sz="32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 </a:t>
            </a:r>
          </a:p>
          <a:p>
            <a:pPr algn="ctr"/>
            <a:endParaRPr lang="en-US" sz="12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4FBFC51-2260-A819-06C6-6385ABA870F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0708426">
            <a:off x="3386716" y="4321220"/>
            <a:ext cx="1629393" cy="2200199"/>
          </a:xfrm>
          <a:prstGeom prst="rect">
            <a:avLst/>
          </a:prstGeom>
        </p:spPr>
      </p:pic>
      <p:pic>
        <p:nvPicPr>
          <p:cNvPr id="8" name="Image 3">
            <a:extLst>
              <a:ext uri="{FF2B5EF4-FFF2-40B4-BE49-F238E27FC236}">
                <a16:creationId xmlns:a16="http://schemas.microsoft.com/office/drawing/2014/main" id="{5A8E79FA-E4E4-75D1-0055-1EF7E4E4F56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337192">
            <a:off x="4611031" y="4300537"/>
            <a:ext cx="1556319" cy="2404809"/>
          </a:xfrm>
          <a:prstGeom prst="rect">
            <a:avLst/>
          </a:prstGeom>
        </p:spPr>
      </p:pic>
      <p:grpSp>
        <p:nvGrpSpPr>
          <p:cNvPr id="11" name="Groupe 10">
            <a:extLst>
              <a:ext uri="{FF2B5EF4-FFF2-40B4-BE49-F238E27FC236}">
                <a16:creationId xmlns:a16="http://schemas.microsoft.com/office/drawing/2014/main" id="{7E9D4B55-C127-234E-7D3F-8BBE95A1F534}"/>
              </a:ext>
            </a:extLst>
          </p:cNvPr>
          <p:cNvGrpSpPr/>
          <p:nvPr/>
        </p:nvGrpSpPr>
        <p:grpSpPr>
          <a:xfrm>
            <a:off x="3754038" y="2401801"/>
            <a:ext cx="1635152" cy="1477553"/>
            <a:chOff x="3664087" y="4581128"/>
            <a:chExt cx="1635152" cy="1477553"/>
          </a:xfrm>
        </p:grpSpPr>
        <p:pic>
          <p:nvPicPr>
            <p:cNvPr id="12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F3001E0B-C70C-885E-1A8B-5AD56B1DBE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4087" y="4581128"/>
              <a:ext cx="1621629" cy="1477553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0F53862-FDE4-2365-485F-A803569B3D79}"/>
                </a:ext>
              </a:extLst>
            </p:cNvPr>
            <p:cNvSpPr/>
            <p:nvPr/>
          </p:nvSpPr>
          <p:spPr>
            <a:xfrm>
              <a:off x="3736855" y="5642853"/>
              <a:ext cx="1562384" cy="3998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 دقيقة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913918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81816B-6087-1941-DD06-02A50633B9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F25BF79-DB77-D2E7-0364-E6CD268D17F1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D6F28C7-4DC4-ADE0-4571-17654C75D84D}"/>
              </a:ext>
            </a:extLst>
          </p:cNvPr>
          <p:cNvSpPr/>
          <p:nvPr/>
        </p:nvSpPr>
        <p:spPr>
          <a:xfrm>
            <a:off x="179513" y="404839"/>
            <a:ext cx="8774416" cy="6182647"/>
          </a:xfrm>
          <a:prstGeom prst="roundRect">
            <a:avLst>
              <a:gd name="adj" fmla="val 1963"/>
            </a:avLst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9D534E29-9E06-DB27-86C9-7F3C85A9BA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ABE5CAEA-F717-3058-CC57-6769A1D890DD}"/>
              </a:ext>
            </a:extLst>
          </p:cNvPr>
          <p:cNvSpPr/>
          <p:nvPr/>
        </p:nvSpPr>
        <p:spPr>
          <a:xfrm>
            <a:off x="2717800" y="2637748"/>
            <a:ext cx="3708400" cy="927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4" rtl="1" eaLnBrk="1" fontAlgn="auto" latinLnBrk="0" hangingPunct="1">
              <a:lnSpc>
                <a:spcPts val="548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MA" sz="2800" b="1" i="0" u="none" strike="noStrike" kern="1200" cap="none" spc="0" normalizeH="0" baseline="0" noProof="0" dirty="0">
              <a:ln>
                <a:noFill/>
              </a:ln>
              <a:solidFill>
                <a:srgbClr val="3795AF"/>
              </a:solidFill>
              <a:effectLst/>
              <a:uLnTx/>
              <a:uFillTx/>
              <a:latin typeface="Dosis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692CEBB2-B9F8-AC71-96DA-5350AC160F61}"/>
              </a:ext>
            </a:extLst>
          </p:cNvPr>
          <p:cNvSpPr txBox="1"/>
          <p:nvPr/>
        </p:nvSpPr>
        <p:spPr>
          <a:xfrm>
            <a:off x="514430" y="451409"/>
            <a:ext cx="78189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600" b="1" dirty="0">
                <a:solidFill>
                  <a:schemeClr val="bg1">
                    <a:lumMod val="75000"/>
                  </a:schemeClr>
                </a:solidFill>
              </a:rPr>
              <a:t>نفس التعليمة بالنسبة للمستوى السادس، ستشتغلون بشكل فردي على كراساتكم، النشاط رقم 5 الصفحة 15، </a:t>
            </a:r>
            <a:br>
              <a:rPr lang="ar-MA" sz="1600" b="1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ar-MA" sz="1600" b="1" dirty="0">
                <a:solidFill>
                  <a:schemeClr val="bg1">
                    <a:lumMod val="75000"/>
                  </a:schemeClr>
                </a:solidFill>
              </a:rPr>
              <a:t>ارسموا نموذج الشريط المناسب واكتبوا متساوية وعبارة الحل.</a:t>
            </a:r>
            <a:endParaRPr lang="fr-FR" sz="1600" b="1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E5BDD79-DFFA-4A2F-50DB-FF3170C783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556" y="1486144"/>
            <a:ext cx="8525264" cy="4005958"/>
          </a:xfrm>
          <a:prstGeom prst="rect">
            <a:avLst/>
          </a:prstGeom>
        </p:spPr>
      </p:pic>
      <p:grpSp>
        <p:nvGrpSpPr>
          <p:cNvPr id="11" name="Groupe 10">
            <a:extLst>
              <a:ext uri="{FF2B5EF4-FFF2-40B4-BE49-F238E27FC236}">
                <a16:creationId xmlns:a16="http://schemas.microsoft.com/office/drawing/2014/main" id="{23C2A58B-774B-F8F9-CE10-7A67631229A3}"/>
              </a:ext>
            </a:extLst>
          </p:cNvPr>
          <p:cNvGrpSpPr/>
          <p:nvPr/>
        </p:nvGrpSpPr>
        <p:grpSpPr>
          <a:xfrm>
            <a:off x="-292067" y="113553"/>
            <a:ext cx="1562384" cy="1246597"/>
            <a:chOff x="3736855" y="4852393"/>
            <a:chExt cx="1562384" cy="1246597"/>
          </a:xfrm>
        </p:grpSpPr>
        <p:pic>
          <p:nvPicPr>
            <p:cNvPr id="12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40CA763E-C0C3-2D69-2B35-998F0FB62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33971" y="4852393"/>
              <a:ext cx="1368152" cy="1246597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9F6E45-3FE2-E332-01EA-3197EEC3BCB7}"/>
                </a:ext>
              </a:extLst>
            </p:cNvPr>
            <p:cNvSpPr/>
            <p:nvPr/>
          </p:nvSpPr>
          <p:spPr>
            <a:xfrm>
              <a:off x="3736855" y="5642853"/>
              <a:ext cx="1562384" cy="3998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fr-FR" sz="14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</a:t>
              </a:r>
              <a:r>
                <a:rPr lang="ar-MA" sz="14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دقائق</a:t>
              </a:r>
              <a:endParaRPr lang="en-US" sz="1400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8" name="Groupe 13">
            <a:extLst>
              <a:ext uri="{FF2B5EF4-FFF2-40B4-BE49-F238E27FC236}">
                <a16:creationId xmlns:a16="http://schemas.microsoft.com/office/drawing/2014/main" id="{087D7D5B-C437-7D38-CAFA-8D987E4135CE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solidFill>
            <a:schemeClr val="accent4">
              <a:lumMod val="75000"/>
            </a:schemeClr>
          </a:solidFill>
        </p:grpSpPr>
        <p:sp>
          <p:nvSpPr>
            <p:cNvPr id="20" name="Rectangle : coins arrondis 14">
              <a:extLst>
                <a:ext uri="{FF2B5EF4-FFF2-40B4-BE49-F238E27FC236}">
                  <a16:creationId xmlns:a16="http://schemas.microsoft.com/office/drawing/2014/main" id="{5DEA068A-2C53-F0D7-9C99-CB61B28C6CC3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21" name="Rectangle : coins arrondis 15">
              <a:extLst>
                <a:ext uri="{FF2B5EF4-FFF2-40B4-BE49-F238E27FC236}">
                  <a16:creationId xmlns:a16="http://schemas.microsoft.com/office/drawing/2014/main" id="{E45B2DF8-472E-B604-AB30-CF3E73EC6D2E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2" name="Rectangle : coins arrondis 16">
              <a:extLst>
                <a:ext uri="{FF2B5EF4-FFF2-40B4-BE49-F238E27FC236}">
                  <a16:creationId xmlns:a16="http://schemas.microsoft.com/office/drawing/2014/main" id="{EB7CD9EF-13C1-9AEE-5C75-DF8F2985800B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6" name="Rectangle : coins arrondis 17">
              <a:extLst>
                <a:ext uri="{FF2B5EF4-FFF2-40B4-BE49-F238E27FC236}">
                  <a16:creationId xmlns:a16="http://schemas.microsoft.com/office/drawing/2014/main" id="{9392FB80-7012-BC69-B255-54E9BCF8FF75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7" name="Rectangle : coins arrondis 18">
              <a:extLst>
                <a:ext uri="{FF2B5EF4-FFF2-40B4-BE49-F238E27FC236}">
                  <a16:creationId xmlns:a16="http://schemas.microsoft.com/office/drawing/2014/main" id="{1273BEA0-16C3-D63F-8047-C2120C312899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pic>
        <p:nvPicPr>
          <p:cNvPr id="28" name="Image 27" descr="Une image contenant Police, cercle, Graphique, logo&#10;&#10;Le contenu généré par l’IA peut être incorrect.">
            <a:extLst>
              <a:ext uri="{FF2B5EF4-FFF2-40B4-BE49-F238E27FC236}">
                <a16:creationId xmlns:a16="http://schemas.microsoft.com/office/drawing/2014/main" id="{5D9A71B6-5AEB-0EF9-CED6-AE86725CE27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611" y="-27671"/>
            <a:ext cx="565041" cy="69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7414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C9DB-17DD-DB37-32FA-E88AB05DD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C9BA8E7-230B-BE91-B17D-69D1237A7BE4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8D8764FD-4B8B-6362-E54A-6699053B97FE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40BE7BBE-AC94-334E-B56D-EDA200491676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E037F8DA-1206-F486-FA4E-BAA3931DEC7C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DB781FE2-37CE-373D-1C6B-F834B241E3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0" name="ZoneTexte 13">
            <a:extLst>
              <a:ext uri="{FF2B5EF4-FFF2-40B4-BE49-F238E27FC236}">
                <a16:creationId xmlns:a16="http://schemas.microsoft.com/office/drawing/2014/main" id="{3C55A731-612B-683A-BCCA-14D3D51AA214}"/>
              </a:ext>
            </a:extLst>
          </p:cNvPr>
          <p:cNvSpPr txBox="1"/>
          <p:nvPr/>
        </p:nvSpPr>
        <p:spPr>
          <a:xfrm>
            <a:off x="453434" y="517530"/>
            <a:ext cx="7806610" cy="3588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مرحبا أعزائي</a:t>
            </a:r>
            <a:r>
              <a:rPr kumimoji="0" lang="ar-S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، 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سنبدأ درس اليوم</a:t>
            </a:r>
            <a:r>
              <a:rPr lang="ar-MA" sz="16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بأنشطة مشتركة:</a:t>
            </a:r>
            <a:endParaRPr lang="fr-FR" sz="1600" b="1" dirty="0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Image 5">
            <a:extLst>
              <a:ext uri="{FF2B5EF4-FFF2-40B4-BE49-F238E27FC236}">
                <a16:creationId xmlns:a16="http://schemas.microsoft.com/office/drawing/2014/main" id="{C2E760AD-A862-C6E1-C472-74C7133E929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59832" y="2348880"/>
            <a:ext cx="3498353" cy="2520000"/>
          </a:xfrm>
          <a:prstGeom prst="rect">
            <a:avLst/>
          </a:prstGeom>
        </p:spPr>
      </p:pic>
      <p:grpSp>
        <p:nvGrpSpPr>
          <p:cNvPr id="2" name="Groupe 13">
            <a:extLst>
              <a:ext uri="{FF2B5EF4-FFF2-40B4-BE49-F238E27FC236}">
                <a16:creationId xmlns:a16="http://schemas.microsoft.com/office/drawing/2014/main" id="{DA34E110-CEC2-8F74-41F9-95D647A2BD19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4" name="Rectangle : coins arrondis 14">
              <a:extLst>
                <a:ext uri="{FF2B5EF4-FFF2-40B4-BE49-F238E27FC236}">
                  <a16:creationId xmlns:a16="http://schemas.microsoft.com/office/drawing/2014/main" id="{48B61B66-1E71-ED63-639F-B4E9D1599D57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8" name="Rectangle : coins arrondis 15">
              <a:extLst>
                <a:ext uri="{FF2B5EF4-FFF2-40B4-BE49-F238E27FC236}">
                  <a16:creationId xmlns:a16="http://schemas.microsoft.com/office/drawing/2014/main" id="{ED6E8E52-E4AD-BAD7-83EE-A1A822D74DA0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5" name="Rectangle : coins arrondis 16">
              <a:extLst>
                <a:ext uri="{FF2B5EF4-FFF2-40B4-BE49-F238E27FC236}">
                  <a16:creationId xmlns:a16="http://schemas.microsoft.com/office/drawing/2014/main" id="{D882B4C1-3DAD-0DDB-1018-EA00FF3D8175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6" name="Rectangle : coins arrondis 17">
              <a:extLst>
                <a:ext uri="{FF2B5EF4-FFF2-40B4-BE49-F238E27FC236}">
                  <a16:creationId xmlns:a16="http://schemas.microsoft.com/office/drawing/2014/main" id="{BAD00AEE-F2F3-C4FA-CAA6-F238AED9B909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7" name="Rectangle : coins arrondis 18">
              <a:extLst>
                <a:ext uri="{FF2B5EF4-FFF2-40B4-BE49-F238E27FC236}">
                  <a16:creationId xmlns:a16="http://schemas.microsoft.com/office/drawing/2014/main" id="{C5FA2B3C-6420-AAB7-9676-D9538FFCEF24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45664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CA5727-55FB-EC19-1082-8A3A59C6B5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7248C1E-DB26-B08E-186B-3297B76C4AAE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0C31008-E122-792D-4E97-65A2BD2097C3}"/>
              </a:ext>
            </a:extLst>
          </p:cNvPr>
          <p:cNvSpPr/>
          <p:nvPr/>
        </p:nvSpPr>
        <p:spPr>
          <a:xfrm>
            <a:off x="179513" y="404839"/>
            <a:ext cx="8774416" cy="6182647"/>
          </a:xfrm>
          <a:prstGeom prst="roundRect">
            <a:avLst>
              <a:gd name="adj" fmla="val 1963"/>
            </a:avLst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8145C1D9-D1D4-48B7-EC53-841291FBCE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0DA1E8A7-86F1-0096-70EC-434D7625080E}"/>
              </a:ext>
            </a:extLst>
          </p:cNvPr>
          <p:cNvSpPr/>
          <p:nvPr/>
        </p:nvSpPr>
        <p:spPr>
          <a:xfrm>
            <a:off x="2717800" y="2637748"/>
            <a:ext cx="3708400" cy="927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4" rtl="1" eaLnBrk="1" fontAlgn="auto" latinLnBrk="0" hangingPunct="1">
              <a:lnSpc>
                <a:spcPts val="548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MA" sz="2800" b="1" i="0" u="none" strike="noStrike" kern="1200" cap="none" spc="0" normalizeH="0" baseline="0" noProof="0" dirty="0">
              <a:ln>
                <a:noFill/>
              </a:ln>
              <a:solidFill>
                <a:srgbClr val="3795AF"/>
              </a:solidFill>
              <a:effectLst/>
              <a:uLnTx/>
              <a:uFillTx/>
              <a:latin typeface="Dosis" pitchFamily="2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7289C1CD-AB73-A439-9778-41BB9D3899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1097740"/>
            <a:ext cx="8253388" cy="5410669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7AE03854-D358-6254-546E-301592962F1E}"/>
              </a:ext>
            </a:extLst>
          </p:cNvPr>
          <p:cNvSpPr txBox="1"/>
          <p:nvPr/>
        </p:nvSpPr>
        <p:spPr>
          <a:xfrm>
            <a:off x="514430" y="451409"/>
            <a:ext cx="78189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600" b="1" dirty="0">
                <a:solidFill>
                  <a:schemeClr val="bg1">
                    <a:lumMod val="75000"/>
                  </a:schemeClr>
                </a:solidFill>
              </a:rPr>
              <a:t> بالنسبة للمستوى الخامس، ستشتغلون بشكل فردي على كراساتكم، النشاط رقم 3 الصفحة 15، </a:t>
            </a:r>
            <a:br>
              <a:rPr lang="ar-MA" sz="1600" b="1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ar-MA" sz="1600" b="1" dirty="0">
                <a:solidFill>
                  <a:schemeClr val="bg1">
                    <a:lumMod val="75000"/>
                  </a:schemeClr>
                </a:solidFill>
              </a:rPr>
              <a:t>ارسموا نموذج الشريط المناسب واكتبوا متساوية وعبارة الحل.</a:t>
            </a:r>
            <a:endParaRPr lang="fr-FR" sz="16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0BE92036-57C5-ABA2-EF18-F2B30A7DA687}"/>
              </a:ext>
            </a:extLst>
          </p:cNvPr>
          <p:cNvGrpSpPr/>
          <p:nvPr/>
        </p:nvGrpSpPr>
        <p:grpSpPr>
          <a:xfrm>
            <a:off x="-61634" y="206424"/>
            <a:ext cx="1152128" cy="1074744"/>
            <a:chOff x="3664087" y="4581128"/>
            <a:chExt cx="1635152" cy="1477553"/>
          </a:xfrm>
        </p:grpSpPr>
        <p:pic>
          <p:nvPicPr>
            <p:cNvPr id="16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EFB5DECC-74DF-C587-0717-C3200F53A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4087" y="4581128"/>
              <a:ext cx="1621629" cy="1477553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6EC7026-5B7F-0860-9D69-768BFD925B59}"/>
                </a:ext>
              </a:extLst>
            </p:cNvPr>
            <p:cNvSpPr/>
            <p:nvPr/>
          </p:nvSpPr>
          <p:spPr>
            <a:xfrm>
              <a:off x="3736855" y="5642853"/>
              <a:ext cx="1562384" cy="3998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fr-FR" sz="16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</a:t>
              </a:r>
              <a:r>
                <a:rPr lang="ar-MA" sz="16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دقائق</a:t>
              </a:r>
              <a:endParaRPr lang="en-US" sz="1600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8" name="Groupe 13">
            <a:extLst>
              <a:ext uri="{FF2B5EF4-FFF2-40B4-BE49-F238E27FC236}">
                <a16:creationId xmlns:a16="http://schemas.microsoft.com/office/drawing/2014/main" id="{36510699-5795-34D3-8552-392D79B57A05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solidFill>
            <a:schemeClr val="accent3">
              <a:lumMod val="75000"/>
            </a:schemeClr>
          </a:solidFill>
        </p:grpSpPr>
        <p:sp>
          <p:nvSpPr>
            <p:cNvPr id="20" name="Rectangle : coins arrondis 14">
              <a:extLst>
                <a:ext uri="{FF2B5EF4-FFF2-40B4-BE49-F238E27FC236}">
                  <a16:creationId xmlns:a16="http://schemas.microsoft.com/office/drawing/2014/main" id="{8F53036A-4A27-137F-B36C-37C1789B48D4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21" name="Rectangle : coins arrondis 15">
              <a:extLst>
                <a:ext uri="{FF2B5EF4-FFF2-40B4-BE49-F238E27FC236}">
                  <a16:creationId xmlns:a16="http://schemas.microsoft.com/office/drawing/2014/main" id="{0952B233-B2FD-09DB-83AA-61C8C3E0B662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2" name="Rectangle : coins arrondis 16">
              <a:extLst>
                <a:ext uri="{FF2B5EF4-FFF2-40B4-BE49-F238E27FC236}">
                  <a16:creationId xmlns:a16="http://schemas.microsoft.com/office/drawing/2014/main" id="{3DA6A935-F758-E00F-FC63-A1CFE2B64B78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6" name="Rectangle : coins arrondis 17">
              <a:extLst>
                <a:ext uri="{FF2B5EF4-FFF2-40B4-BE49-F238E27FC236}">
                  <a16:creationId xmlns:a16="http://schemas.microsoft.com/office/drawing/2014/main" id="{59AB7050-7078-263F-60B6-30052C1D7B6D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7" name="Rectangle : coins arrondis 18">
              <a:extLst>
                <a:ext uri="{FF2B5EF4-FFF2-40B4-BE49-F238E27FC236}">
                  <a16:creationId xmlns:a16="http://schemas.microsoft.com/office/drawing/2014/main" id="{AB637F5A-6E2C-ED65-BA94-507520B1DBFF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pic>
        <p:nvPicPr>
          <p:cNvPr id="28" name="Image 27" descr="Une image contenant Police, Graphique, logo, texte&#10;&#10;Le contenu généré par l’IA peut être incorrect.">
            <a:extLst>
              <a:ext uri="{FF2B5EF4-FFF2-40B4-BE49-F238E27FC236}">
                <a16:creationId xmlns:a16="http://schemas.microsoft.com/office/drawing/2014/main" id="{D561679E-D76A-1D15-5A69-86E7F45877A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966" y="-42681"/>
            <a:ext cx="565041" cy="69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2582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CE3A74-C684-1C22-CBB9-13FA9ADED6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233DA6F-96DF-630F-36AD-05C15EE7C382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4258E225-5ED1-22CB-3DD8-0875153C4425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A84B1DB9-04D4-6D6D-AA15-0CBD44708AEA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DB86058C-9AC9-4A74-3B5A-C9B2118672E3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D26E364D-C9A3-1F41-DD68-7292351CA1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400C8A84-4B97-D0DC-CC84-72FFCB981FF8}"/>
              </a:ext>
            </a:extLst>
          </p:cNvPr>
          <p:cNvSpPr txBox="1"/>
          <p:nvPr/>
        </p:nvSpPr>
        <p:spPr>
          <a:xfrm>
            <a:off x="1043608" y="547024"/>
            <a:ext cx="72164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يمر الأستاذ(ة) بين الصفوف لتتبع المتعلمين ولتقديم المساعدة للمتعثرين فقط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EA2203-DA81-8AB9-5090-8297CDDA86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680" y="1731787"/>
            <a:ext cx="6068905" cy="4192236"/>
          </a:xfrm>
          <a:prstGeom prst="rect">
            <a:avLst/>
          </a:prstGeom>
        </p:spPr>
      </p:pic>
      <p:grpSp>
        <p:nvGrpSpPr>
          <p:cNvPr id="2" name="Group 67">
            <a:extLst>
              <a:ext uri="{FF2B5EF4-FFF2-40B4-BE49-F238E27FC236}">
                <a16:creationId xmlns:a16="http://schemas.microsoft.com/office/drawing/2014/main" id="{2079068D-071C-660C-8CD7-CCE88D686CE0}"/>
              </a:ext>
            </a:extLst>
          </p:cNvPr>
          <p:cNvGrpSpPr/>
          <p:nvPr/>
        </p:nvGrpSpPr>
        <p:grpSpPr>
          <a:xfrm>
            <a:off x="517504" y="267893"/>
            <a:ext cx="1131745" cy="927593"/>
            <a:chOff x="1324314" y="2022921"/>
            <a:chExt cx="1656987" cy="1643283"/>
          </a:xfrm>
        </p:grpSpPr>
        <p:pic>
          <p:nvPicPr>
            <p:cNvPr id="8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317BF865-FFE9-8872-574E-98EE9A035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4" y="2022921"/>
              <a:ext cx="1643283" cy="1643283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74121A-A026-2FB7-D7A8-717E934BE846}"/>
                </a:ext>
              </a:extLst>
            </p:cNvPr>
            <p:cNvSpPr/>
            <p:nvPr/>
          </p:nvSpPr>
          <p:spPr>
            <a:xfrm>
              <a:off x="1398054" y="3203735"/>
              <a:ext cx="1583247" cy="4447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 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687709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23527-FC58-B39F-565E-3150494117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9F6E23C-3272-0BF5-5D79-3D5CE36169F8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80B7F49-87E3-87A2-978D-A9C53A6FC59E}"/>
              </a:ext>
            </a:extLst>
          </p:cNvPr>
          <p:cNvSpPr/>
          <p:nvPr/>
        </p:nvSpPr>
        <p:spPr>
          <a:xfrm>
            <a:off x="179513" y="404839"/>
            <a:ext cx="8774416" cy="6182647"/>
          </a:xfrm>
          <a:prstGeom prst="roundRect">
            <a:avLst>
              <a:gd name="adj" fmla="val 1963"/>
            </a:avLst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CDEAD769-AFF5-2B63-8C65-6E69BA45C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D4586AE-A849-0BA4-98C6-1221C5D2532D}"/>
              </a:ext>
            </a:extLst>
          </p:cNvPr>
          <p:cNvSpPr/>
          <p:nvPr/>
        </p:nvSpPr>
        <p:spPr>
          <a:xfrm>
            <a:off x="2717800" y="2637748"/>
            <a:ext cx="3708400" cy="927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4" rtl="1" eaLnBrk="1" fontAlgn="auto" latinLnBrk="0" hangingPunct="1">
              <a:lnSpc>
                <a:spcPts val="548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MA" sz="2800" b="1" i="0" u="none" strike="noStrike" kern="1200" cap="none" spc="0" normalizeH="0" baseline="0" noProof="0" dirty="0">
              <a:ln>
                <a:noFill/>
              </a:ln>
              <a:solidFill>
                <a:srgbClr val="3795AF"/>
              </a:solidFill>
              <a:effectLst/>
              <a:uLnTx/>
              <a:uFillTx/>
              <a:latin typeface="Dosis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140F728-F637-B75B-EC6E-E289C1ADCBE9}"/>
              </a:ext>
            </a:extLst>
          </p:cNvPr>
          <p:cNvSpPr txBox="1"/>
          <p:nvPr/>
        </p:nvSpPr>
        <p:spPr>
          <a:xfrm>
            <a:off x="466365" y="513015"/>
            <a:ext cx="7838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75000"/>
                  </a:schemeClr>
                </a:solidFill>
              </a:rPr>
              <a:t>من يذكرنا بالخطوات الأربع لحل هذه المسألة.</a:t>
            </a:r>
          </a:p>
          <a:p>
            <a:pPr algn="r" rtl="1"/>
            <a:r>
              <a:rPr lang="ar-MA" b="1" dirty="0">
                <a:solidFill>
                  <a:schemeClr val="bg1">
                    <a:lumMod val="75000"/>
                  </a:schemeClr>
                </a:solidFill>
              </a:rPr>
              <a:t>متعلمو المستوى5يتابعون حل المسألة. 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25A29628-59B9-0F6F-36DE-15DB540DFB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556" y="1486144"/>
            <a:ext cx="8525264" cy="4005958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DD8901FD-F09F-975B-1F07-5DB2F6055343}"/>
              </a:ext>
            </a:extLst>
          </p:cNvPr>
          <p:cNvSpPr txBox="1"/>
          <p:nvPr/>
        </p:nvSpPr>
        <p:spPr>
          <a:xfrm>
            <a:off x="4752641" y="3884288"/>
            <a:ext cx="29230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rgbClr val="FF0000"/>
                </a:solidFill>
              </a:rPr>
              <a:t>97 + 190 + 75 = 362</a:t>
            </a:r>
            <a:endParaRPr lang="ar-MA" sz="2000" b="1" dirty="0">
              <a:solidFill>
                <a:srgbClr val="FF0000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B678B987-8C62-5C96-48FA-86D546052D5C}"/>
              </a:ext>
            </a:extLst>
          </p:cNvPr>
          <p:cNvSpPr txBox="1"/>
          <p:nvPr/>
        </p:nvSpPr>
        <p:spPr>
          <a:xfrm>
            <a:off x="4789333" y="4746630"/>
            <a:ext cx="3544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عدد المنخرطين في النادي هو:  362 تلميذا   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6BE521C3-76CE-A7A4-AC57-CD5B4FB8FC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688" y="3565342"/>
            <a:ext cx="3912187" cy="1081305"/>
          </a:xfrm>
          <a:prstGeom prst="rect">
            <a:avLst/>
          </a:prstGeom>
        </p:spPr>
      </p:pic>
      <p:grpSp>
        <p:nvGrpSpPr>
          <p:cNvPr id="20" name="Groupe 13">
            <a:extLst>
              <a:ext uri="{FF2B5EF4-FFF2-40B4-BE49-F238E27FC236}">
                <a16:creationId xmlns:a16="http://schemas.microsoft.com/office/drawing/2014/main" id="{721CD1AD-411B-957C-7E2E-D3BF29769852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solidFill>
            <a:schemeClr val="accent4">
              <a:lumMod val="75000"/>
            </a:schemeClr>
          </a:solidFill>
        </p:grpSpPr>
        <p:sp>
          <p:nvSpPr>
            <p:cNvPr id="21" name="Rectangle : coins arrondis 14">
              <a:extLst>
                <a:ext uri="{FF2B5EF4-FFF2-40B4-BE49-F238E27FC236}">
                  <a16:creationId xmlns:a16="http://schemas.microsoft.com/office/drawing/2014/main" id="{AB6E888F-0901-BA61-5E57-132356914A22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22" name="Rectangle : coins arrondis 15">
              <a:extLst>
                <a:ext uri="{FF2B5EF4-FFF2-40B4-BE49-F238E27FC236}">
                  <a16:creationId xmlns:a16="http://schemas.microsoft.com/office/drawing/2014/main" id="{35DE6022-CC5E-AEE1-B296-39CD8F5CE5D7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6" name="Rectangle : coins arrondis 16">
              <a:extLst>
                <a:ext uri="{FF2B5EF4-FFF2-40B4-BE49-F238E27FC236}">
                  <a16:creationId xmlns:a16="http://schemas.microsoft.com/office/drawing/2014/main" id="{E0AF379F-D610-45C2-6B73-E1C47420D3D0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7" name="Rectangle : coins arrondis 17">
              <a:extLst>
                <a:ext uri="{FF2B5EF4-FFF2-40B4-BE49-F238E27FC236}">
                  <a16:creationId xmlns:a16="http://schemas.microsoft.com/office/drawing/2014/main" id="{1BD71AC6-4E0A-7150-0895-460474B03652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8" name="Rectangle : coins arrondis 18">
              <a:extLst>
                <a:ext uri="{FF2B5EF4-FFF2-40B4-BE49-F238E27FC236}">
                  <a16:creationId xmlns:a16="http://schemas.microsoft.com/office/drawing/2014/main" id="{8D20E278-EE1D-1C31-83D2-0CAC41965202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pic>
        <p:nvPicPr>
          <p:cNvPr id="29" name="Image 28" descr="Une image contenant Police, cercle, Graphique, logo&#10;&#10;Le contenu généré par l’IA peut être incorrect.">
            <a:extLst>
              <a:ext uri="{FF2B5EF4-FFF2-40B4-BE49-F238E27FC236}">
                <a16:creationId xmlns:a16="http://schemas.microsoft.com/office/drawing/2014/main" id="{6DCB326B-890D-4E47-CAA7-256F09BDD0A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611" y="-27671"/>
            <a:ext cx="565041" cy="69171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C1A05D1-896B-9A67-454E-8796F2B2F5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5143" y="404664"/>
            <a:ext cx="1556761" cy="104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31857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3BF53-C727-E40C-64E2-6E8B745B9D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845FD2-3CF9-9140-AED5-4CD212D64D9A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AD7EFF00-B4D3-D441-30FB-100CDB13F8EF}"/>
              </a:ext>
            </a:extLst>
          </p:cNvPr>
          <p:cNvSpPr/>
          <p:nvPr/>
        </p:nvSpPr>
        <p:spPr>
          <a:xfrm>
            <a:off x="179513" y="404839"/>
            <a:ext cx="8774416" cy="6182647"/>
          </a:xfrm>
          <a:prstGeom prst="roundRect">
            <a:avLst>
              <a:gd name="adj" fmla="val 1963"/>
            </a:avLst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D488F27-3747-0D51-8B6B-7A3E24D357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651980"/>
            <a:ext cx="344372" cy="32874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ABFE813F-C684-41BC-2C86-3C7F57AC2195}"/>
              </a:ext>
            </a:extLst>
          </p:cNvPr>
          <p:cNvSpPr/>
          <p:nvPr/>
        </p:nvSpPr>
        <p:spPr>
          <a:xfrm>
            <a:off x="2717800" y="2637748"/>
            <a:ext cx="3708400" cy="927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4" rtl="1" eaLnBrk="1" fontAlgn="auto" latinLnBrk="0" hangingPunct="1">
              <a:lnSpc>
                <a:spcPts val="548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MA" sz="2800" b="1" i="0" u="none" strike="noStrike" kern="1200" cap="none" spc="0" normalizeH="0" baseline="0" noProof="0" dirty="0">
              <a:ln>
                <a:noFill/>
              </a:ln>
              <a:solidFill>
                <a:srgbClr val="3795AF"/>
              </a:solidFill>
              <a:effectLst/>
              <a:uLnTx/>
              <a:uFillTx/>
              <a:latin typeface="Dosis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F0BAAB6B-B1FA-18A8-3DCA-B40B19EAAB49}"/>
              </a:ext>
            </a:extLst>
          </p:cNvPr>
          <p:cNvSpPr txBox="1"/>
          <p:nvPr/>
        </p:nvSpPr>
        <p:spPr>
          <a:xfrm>
            <a:off x="465664" y="476672"/>
            <a:ext cx="7838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75000"/>
                  </a:schemeClr>
                </a:solidFill>
              </a:rPr>
              <a:t>سنقوم بالتصحيح الجماعي، من يذكرنا بالخطوات الأربع لحل هذه المسألة.</a:t>
            </a:r>
          </a:p>
          <a:p>
            <a:pPr algn="r" rtl="1"/>
            <a:r>
              <a:rPr lang="ar-MA" b="1" dirty="0">
                <a:solidFill>
                  <a:schemeClr val="bg1">
                    <a:lumMod val="75000"/>
                  </a:schemeClr>
                </a:solidFill>
              </a:rPr>
              <a:t>متعلمو المستوى6 يتابعون حل المسألة.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FA9541B1-CDDE-9D96-8B21-19FA799034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1097740"/>
            <a:ext cx="8253388" cy="5410669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68F31493-6B63-D8C2-FB31-0F4F89A95C99}"/>
              </a:ext>
            </a:extLst>
          </p:cNvPr>
          <p:cNvSpPr txBox="1"/>
          <p:nvPr/>
        </p:nvSpPr>
        <p:spPr>
          <a:xfrm>
            <a:off x="4741486" y="4922084"/>
            <a:ext cx="2923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rgbClr val="FF0000"/>
                </a:solidFill>
              </a:rPr>
              <a:t>345 – 75 =  270</a:t>
            </a:r>
            <a:endParaRPr lang="ar-MA" sz="2400" b="1" dirty="0">
              <a:solidFill>
                <a:srgbClr val="FF0000"/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02631C9A-A86B-1F1B-7054-58F0A14B7DE7}"/>
              </a:ext>
            </a:extLst>
          </p:cNvPr>
          <p:cNvSpPr txBox="1"/>
          <p:nvPr/>
        </p:nvSpPr>
        <p:spPr>
          <a:xfrm>
            <a:off x="4427984" y="5754742"/>
            <a:ext cx="3894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b="1" dirty="0">
                <a:solidFill>
                  <a:srgbClr val="FF0000"/>
                </a:solidFill>
              </a:rPr>
              <a:t>المبلغ الذي كان في حصالة عماد هو:    </a:t>
            </a:r>
            <a:r>
              <a:rPr lang="fr-FR" b="1" dirty="0">
                <a:solidFill>
                  <a:srgbClr val="FF0000"/>
                </a:solidFill>
              </a:rPr>
              <a:t>270 </a:t>
            </a:r>
            <a:r>
              <a:rPr lang="fr-FR" b="1" dirty="0" err="1">
                <a:solidFill>
                  <a:srgbClr val="FF0000"/>
                </a:solidFill>
              </a:rPr>
              <a:t>dh</a:t>
            </a:r>
            <a:r>
              <a:rPr lang="ar-MA" b="1" dirty="0">
                <a:solidFill>
                  <a:srgbClr val="FF0000"/>
                </a:solidFill>
              </a:rPr>
              <a:t>   </a:t>
            </a:r>
            <a:endParaRPr lang="fr-FR" b="1" dirty="0">
              <a:solidFill>
                <a:srgbClr val="FF0000"/>
              </a:solidFill>
            </a:endParaRP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1BFBFD9-4ED9-FCB9-4A7E-12BDED457B79}"/>
              </a:ext>
            </a:extLst>
          </p:cNvPr>
          <p:cNvSpPr/>
          <p:nvPr/>
        </p:nvSpPr>
        <p:spPr>
          <a:xfrm>
            <a:off x="755576" y="5537761"/>
            <a:ext cx="3093268" cy="345910"/>
          </a:xfrm>
          <a:prstGeom prst="roundRect">
            <a:avLst/>
          </a:prstGeom>
          <a:noFill/>
          <a:ln w="571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 rtl="1"/>
            <a:r>
              <a:rPr lang="ar-MA" b="1" dirty="0">
                <a:solidFill>
                  <a:schemeClr val="tx2"/>
                </a:solidFill>
              </a:rPr>
              <a:t>345 درهم المبلغ الذي أصبح لديه</a:t>
            </a:r>
            <a:endParaRPr lang="fr-FR" b="1" dirty="0">
              <a:solidFill>
                <a:schemeClr val="tx2"/>
              </a:solidFill>
            </a:endParaRPr>
          </a:p>
        </p:txBody>
      </p:sp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D99374B2-E99F-426D-236D-D0996BCB51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507852"/>
              </p:ext>
            </p:extLst>
          </p:nvPr>
        </p:nvGraphicFramePr>
        <p:xfrm>
          <a:off x="595377" y="4733582"/>
          <a:ext cx="3744416" cy="482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7012">
                  <a:extLst>
                    <a:ext uri="{9D8B030D-6E8A-4147-A177-3AD203B41FA5}">
                      <a16:colId xmlns:a16="http://schemas.microsoft.com/office/drawing/2014/main" val="3570065000"/>
                    </a:ext>
                  </a:extLst>
                </a:gridCol>
                <a:gridCol w="2607404">
                  <a:extLst>
                    <a:ext uri="{9D8B030D-6E8A-4147-A177-3AD203B41FA5}">
                      <a16:colId xmlns:a16="http://schemas.microsoft.com/office/drawing/2014/main" val="3145658122"/>
                    </a:ext>
                  </a:extLst>
                </a:gridCol>
              </a:tblGrid>
              <a:tr h="482401">
                <a:tc>
                  <a:txBody>
                    <a:bodyPr/>
                    <a:lstStyle/>
                    <a:p>
                      <a:pPr algn="ctr" rtl="1"/>
                      <a:r>
                        <a:rPr lang="ar-MA" sz="2400" dirty="0"/>
                        <a:t>75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2400" dirty="0"/>
                        <a:t>؟</a:t>
                      </a:r>
                      <a:endParaRPr lang="fr-FR" sz="24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949252"/>
                  </a:ext>
                </a:extLst>
              </a:tr>
            </a:tbl>
          </a:graphicData>
        </a:graphic>
      </p:graphicFrame>
      <p:sp>
        <p:nvSpPr>
          <p:cNvPr id="26" name="ZoneTexte 25">
            <a:extLst>
              <a:ext uri="{FF2B5EF4-FFF2-40B4-BE49-F238E27FC236}">
                <a16:creationId xmlns:a16="http://schemas.microsoft.com/office/drawing/2014/main" id="{7AA8F92D-917B-9A59-6421-6163184D0FC7}"/>
              </a:ext>
            </a:extLst>
          </p:cNvPr>
          <p:cNvSpPr txBox="1"/>
          <p:nvPr/>
        </p:nvSpPr>
        <p:spPr>
          <a:xfrm>
            <a:off x="25471" y="4387522"/>
            <a:ext cx="45534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1600" b="1" dirty="0">
                <a:solidFill>
                  <a:srgbClr val="FF0000"/>
                </a:solidFill>
              </a:rPr>
              <a:t>المبلغ الذي كان في حصالة عماد؟   </a:t>
            </a:r>
            <a:r>
              <a:rPr lang="ar-MA" sz="1400" b="1" dirty="0">
                <a:solidFill>
                  <a:schemeClr val="accent2">
                    <a:lumMod val="75000"/>
                  </a:schemeClr>
                </a:solidFill>
              </a:rPr>
              <a:t>المبلغ الذي أعطاه </a:t>
            </a:r>
            <a:r>
              <a:rPr lang="ar-MA" sz="1600" b="1" dirty="0">
                <a:solidFill>
                  <a:schemeClr val="accent2">
                    <a:lumMod val="75000"/>
                  </a:schemeClr>
                </a:solidFill>
              </a:rPr>
              <a:t>جده</a:t>
            </a:r>
          </a:p>
        </p:txBody>
      </p:sp>
      <p:sp>
        <p:nvSpPr>
          <p:cNvPr id="27" name="Accolade fermante 26">
            <a:extLst>
              <a:ext uri="{FF2B5EF4-FFF2-40B4-BE49-F238E27FC236}">
                <a16:creationId xmlns:a16="http://schemas.microsoft.com/office/drawing/2014/main" id="{E485316F-6537-51B4-F7F6-3847B7F32E23}"/>
              </a:ext>
            </a:extLst>
          </p:cNvPr>
          <p:cNvSpPr/>
          <p:nvPr/>
        </p:nvSpPr>
        <p:spPr>
          <a:xfrm rot="5400000">
            <a:off x="2360050" y="3630759"/>
            <a:ext cx="221768" cy="3534124"/>
          </a:xfrm>
          <a:prstGeom prst="rightBrace">
            <a:avLst/>
          </a:prstGeom>
          <a:ln w="762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100">
              <a:solidFill>
                <a:schemeClr val="tx2"/>
              </a:solidFill>
            </a:endParaRPr>
          </a:p>
        </p:txBody>
      </p:sp>
      <p:grpSp>
        <p:nvGrpSpPr>
          <p:cNvPr id="28" name="Groupe 13">
            <a:extLst>
              <a:ext uri="{FF2B5EF4-FFF2-40B4-BE49-F238E27FC236}">
                <a16:creationId xmlns:a16="http://schemas.microsoft.com/office/drawing/2014/main" id="{922B3B04-135E-56C2-60E3-0C0B210D8A64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solidFill>
            <a:schemeClr val="accent3">
              <a:lumMod val="75000"/>
            </a:schemeClr>
          </a:solidFill>
        </p:grpSpPr>
        <p:sp>
          <p:nvSpPr>
            <p:cNvPr id="29" name="Rectangle : coins arrondis 14">
              <a:extLst>
                <a:ext uri="{FF2B5EF4-FFF2-40B4-BE49-F238E27FC236}">
                  <a16:creationId xmlns:a16="http://schemas.microsoft.com/office/drawing/2014/main" id="{DED8037C-B4F5-0452-C864-932274271E91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30" name="Rectangle : coins arrondis 15">
              <a:extLst>
                <a:ext uri="{FF2B5EF4-FFF2-40B4-BE49-F238E27FC236}">
                  <a16:creationId xmlns:a16="http://schemas.microsoft.com/office/drawing/2014/main" id="{E8BE41A7-B2B3-7C60-35CC-74AC0C078FA3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31" name="Rectangle : coins arrondis 16">
              <a:extLst>
                <a:ext uri="{FF2B5EF4-FFF2-40B4-BE49-F238E27FC236}">
                  <a16:creationId xmlns:a16="http://schemas.microsoft.com/office/drawing/2014/main" id="{018A3026-EE26-2837-6730-2D42DCDB321C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32" name="Rectangle : coins arrondis 17">
              <a:extLst>
                <a:ext uri="{FF2B5EF4-FFF2-40B4-BE49-F238E27FC236}">
                  <a16:creationId xmlns:a16="http://schemas.microsoft.com/office/drawing/2014/main" id="{11B7AC2B-F735-1FDB-FA08-DB113DCF10E9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33" name="Rectangle : coins arrondis 18">
              <a:extLst>
                <a:ext uri="{FF2B5EF4-FFF2-40B4-BE49-F238E27FC236}">
                  <a16:creationId xmlns:a16="http://schemas.microsoft.com/office/drawing/2014/main" id="{26DBB081-C0CB-24EB-52A5-DFACD196D531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>
                      <a:lumMod val="65000"/>
                    </a:schemeClr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pic>
        <p:nvPicPr>
          <p:cNvPr id="34" name="Image 33" descr="Une image contenant Police, Graphique, logo, texte&#10;&#10;Le contenu généré par l’IA peut être incorrect.">
            <a:extLst>
              <a:ext uri="{FF2B5EF4-FFF2-40B4-BE49-F238E27FC236}">
                <a16:creationId xmlns:a16="http://schemas.microsoft.com/office/drawing/2014/main" id="{EA5143BC-146D-DD24-3540-11957DDD55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966" y="-42681"/>
            <a:ext cx="565041" cy="69171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83F92DD-74D8-1757-3042-E2EB234A26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143" y="404664"/>
            <a:ext cx="1556761" cy="104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81203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254000" y="736600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3E8F-A2D4-86F5-970B-0187137D8890}"/>
              </a:ext>
            </a:extLst>
          </p:cNvPr>
          <p:cNvSpPr txBox="1"/>
          <p:nvPr/>
        </p:nvSpPr>
        <p:spPr>
          <a:xfrm>
            <a:off x="1637972" y="1348424"/>
            <a:ext cx="6164669" cy="67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ند نهاية الحصة</a:t>
            </a:r>
          </a:p>
          <a:p>
            <a:pPr algn="ctr">
              <a:lnSpc>
                <a:spcPts val="2075"/>
              </a:lnSpc>
            </a:pPr>
            <a:r>
              <a:rPr lang="ar-MA" sz="3334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fr-FR" sz="3334" b="1" kern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1DB1C-D298-6B57-4318-C68FD8DCE947}"/>
              </a:ext>
            </a:extLst>
          </p:cNvPr>
          <p:cNvSpPr txBox="1"/>
          <p:nvPr/>
        </p:nvSpPr>
        <p:spPr>
          <a:xfrm>
            <a:off x="1926272" y="1925544"/>
            <a:ext cx="5462424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1">
              <a:spcAft>
                <a:spcPts val="600"/>
              </a:spcAft>
            </a:pP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لى الأقل </a:t>
            </a:r>
            <a:r>
              <a:rPr lang="fr-FR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%</a:t>
            </a: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من المتعلمين قادرون على</a:t>
            </a:r>
            <a:r>
              <a:rPr lang="en-GB" sz="2667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fr-FR" sz="2667" b="1" kern="0" dirty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D6A3147-0DFC-AF15-491E-F043AF0F253C}"/>
              </a:ext>
            </a:extLst>
          </p:cNvPr>
          <p:cNvSpPr/>
          <p:nvPr/>
        </p:nvSpPr>
        <p:spPr>
          <a:xfrm>
            <a:off x="7162800" y="3306938"/>
            <a:ext cx="361008" cy="349749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D14C045-02D3-7077-7653-8FE29C9975B9}"/>
              </a:ext>
            </a:extLst>
          </p:cNvPr>
          <p:cNvSpPr/>
          <p:nvPr/>
        </p:nvSpPr>
        <p:spPr>
          <a:xfrm>
            <a:off x="1368507" y="2929050"/>
            <a:ext cx="6557328" cy="111539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44A9ABB-B6D8-B950-929F-5A5DA55A0CFC}"/>
              </a:ext>
            </a:extLst>
          </p:cNvPr>
          <p:cNvCxnSpPr/>
          <p:nvPr/>
        </p:nvCxnSpPr>
        <p:spPr>
          <a:xfrm>
            <a:off x="1828800" y="3306938"/>
            <a:ext cx="555989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0A3C041-6E5B-0FED-7829-3C505E4EA367}"/>
              </a:ext>
            </a:extLst>
          </p:cNvPr>
          <p:cNvCxnSpPr/>
          <p:nvPr/>
        </p:nvCxnSpPr>
        <p:spPr>
          <a:xfrm>
            <a:off x="1828800" y="3937000"/>
            <a:ext cx="555989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21233967-4E58-E596-D826-490B9F1019CB}"/>
              </a:ext>
            </a:extLst>
          </p:cNvPr>
          <p:cNvSpPr/>
          <p:nvPr/>
        </p:nvSpPr>
        <p:spPr>
          <a:xfrm>
            <a:off x="7264400" y="3408538"/>
            <a:ext cx="361008" cy="349749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7E03AAF5-AAF4-6BA5-2330-D6BBAC661BC2}"/>
              </a:ext>
            </a:extLst>
          </p:cNvPr>
          <p:cNvSpPr txBox="1"/>
          <p:nvPr/>
        </p:nvSpPr>
        <p:spPr>
          <a:xfrm>
            <a:off x="1114507" y="3322187"/>
            <a:ext cx="65109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34" rtl="1">
              <a:defRPr/>
            </a:pPr>
            <a:r>
              <a:rPr lang="ar-MA" sz="22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حل مسألة باعتماد نموذج الأشرطة</a:t>
            </a:r>
            <a:r>
              <a:rPr lang="fr-FR" sz="22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sz="22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باتباع الخطوات الأربعة </a:t>
            </a:r>
          </a:p>
        </p:txBody>
      </p:sp>
      <p:pic>
        <p:nvPicPr>
          <p:cNvPr id="13" name="Picture 15" descr="A green tick on a black background&#10;&#10;Description automatically generated">
            <a:extLst>
              <a:ext uri="{FF2B5EF4-FFF2-40B4-BE49-F238E27FC236}">
                <a16:creationId xmlns:a16="http://schemas.microsoft.com/office/drawing/2014/main" id="{444F154D-EF68-D1E7-39A7-17FE46B3F48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5943" y="2416678"/>
            <a:ext cx="1911410" cy="1911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61595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E291E7-421D-22BD-78CB-144206F94D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>
            <a:extLst>
              <a:ext uri="{FF2B5EF4-FFF2-40B4-BE49-F238E27FC236}">
                <a16:creationId xmlns:a16="http://schemas.microsoft.com/office/drawing/2014/main" id="{1CEE6D2F-982C-7C70-2EAE-25B00D7B1672}"/>
              </a:ext>
            </a:extLst>
          </p:cNvPr>
          <p:cNvGrpSpPr/>
          <p:nvPr/>
        </p:nvGrpSpPr>
        <p:grpSpPr>
          <a:xfrm>
            <a:off x="312516" y="143093"/>
            <a:ext cx="8518967" cy="6196583"/>
            <a:chOff x="312517" y="227366"/>
            <a:chExt cx="8518967" cy="6196583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7655B0CF-40FF-20AC-30CF-93B7F53C04F6}"/>
                </a:ext>
              </a:extLst>
            </p:cNvPr>
            <p:cNvSpPr/>
            <p:nvPr/>
          </p:nvSpPr>
          <p:spPr>
            <a:xfrm>
              <a:off x="312517" y="636608"/>
              <a:ext cx="8518967" cy="5787341"/>
            </a:xfrm>
            <a:prstGeom prst="roundRect">
              <a:avLst>
                <a:gd name="adj" fmla="val 2439"/>
              </a:avLst>
            </a:prstGeom>
            <a:solidFill>
              <a:srgbClr val="F4FAFA"/>
            </a:solidFill>
            <a:ln w="28575">
              <a:solidFill>
                <a:srgbClr val="0056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51D0093-59D7-CEDC-DDEF-03EA3EDA115C}"/>
                </a:ext>
              </a:extLst>
            </p:cNvPr>
            <p:cNvSpPr/>
            <p:nvPr/>
          </p:nvSpPr>
          <p:spPr>
            <a:xfrm>
              <a:off x="625110" y="227366"/>
              <a:ext cx="622415" cy="562981"/>
            </a:xfrm>
            <a:custGeom>
              <a:avLst/>
              <a:gdLst/>
              <a:ahLst/>
              <a:cxnLst/>
              <a:rect l="l" t="t" r="r" b="b"/>
              <a:pathLst>
                <a:path w="1239167" h="1189600">
                  <a:moveTo>
                    <a:pt x="0" y="0"/>
                  </a:moveTo>
                  <a:lnTo>
                    <a:pt x="1239167" y="0"/>
                  </a:lnTo>
                  <a:lnTo>
                    <a:pt x="1239167" y="1189600"/>
                  </a:lnTo>
                  <a:lnTo>
                    <a:pt x="0" y="11896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42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6" name="TextBox 6">
            <a:extLst>
              <a:ext uri="{FF2B5EF4-FFF2-40B4-BE49-F238E27FC236}">
                <a16:creationId xmlns:a16="http://schemas.microsoft.com/office/drawing/2014/main" id="{B4C0052C-3211-B9C1-CC46-DEFD8B044A64}"/>
              </a:ext>
            </a:extLst>
          </p:cNvPr>
          <p:cNvSpPr txBox="1"/>
          <p:nvPr/>
        </p:nvSpPr>
        <p:spPr>
          <a:xfrm>
            <a:off x="1062905" y="2392246"/>
            <a:ext cx="7267004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أحسب نسبة تحقق الهدف من الدرس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89382223-F813-2DCB-D395-F2705B54E7B9}"/>
              </a:ext>
            </a:extLst>
          </p:cNvPr>
          <p:cNvSpPr txBox="1"/>
          <p:nvPr/>
        </p:nvSpPr>
        <p:spPr>
          <a:xfrm>
            <a:off x="1247524" y="3274810"/>
            <a:ext cx="6670915" cy="12952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 algn="ctr" defTabSz="609630" rtl="1">
              <a:lnSpc>
                <a:spcPts val="5486"/>
              </a:lnSpc>
              <a:buFontTx/>
              <a:buChar char="-"/>
              <a:defRPr/>
            </a:pPr>
            <a:r>
              <a:rPr lang="ar-MA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يحسب الأستاذ نسبة تحقق الهدف انطلاقا من إجابات التلاميذ على الكراسات.</a:t>
            </a:r>
          </a:p>
          <a:p>
            <a:pPr marL="742950" lvl="1" indent="-285750" algn="r" defTabSz="609630" rtl="1">
              <a:lnSpc>
                <a:spcPts val="5486"/>
              </a:lnSpc>
              <a:buFontTx/>
              <a:buChar char="-"/>
              <a:defRPr/>
            </a:pPr>
            <a:r>
              <a:rPr lang="ar-MA" b="1" dirty="0">
                <a:solidFill>
                  <a:srgbClr val="D123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يسجل الأستاذ نسبة تحقق الهدف على المذكرة اليومية في خانة الملاحظات.</a:t>
            </a:r>
          </a:p>
        </p:txBody>
      </p:sp>
    </p:spTree>
    <p:extLst>
      <p:ext uri="{BB962C8B-B14F-4D97-AF65-F5344CB8AC3E}">
        <p14:creationId xmlns:p14="http://schemas.microsoft.com/office/powerpoint/2010/main" val="408836716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574801" y="2717800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. اختتام الحصة</a:t>
            </a:r>
            <a:endParaRPr lang="ar-MA" sz="1600" b="1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93601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6C797D-E342-EDEB-564D-1120E97C7E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9EE3E9E-A858-4198-788D-21901AAF57BD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E9A1E146-5176-5045-6BAB-D900EE711CE9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F430B41E-4359-849B-D720-7BCE6F1542C7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D95819DF-4B1C-CE1F-AB1E-C33DC6924FA4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28E2A3A7-62B3-D81B-E547-EFBA508200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4" name="ZoneTexte 4">
            <a:extLst>
              <a:ext uri="{FF2B5EF4-FFF2-40B4-BE49-F238E27FC236}">
                <a16:creationId xmlns:a16="http://schemas.microsoft.com/office/drawing/2014/main" id="{028FDE9A-A21B-57EC-1C2B-34E40E58498B}"/>
              </a:ext>
            </a:extLst>
          </p:cNvPr>
          <p:cNvSpPr txBox="1"/>
          <p:nvPr/>
        </p:nvSpPr>
        <p:spPr>
          <a:xfrm>
            <a:off x="337556" y="599332"/>
            <a:ext cx="797237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الذي تعلمناه اليوم؟ من يذكرنا بالخطوات  التي اتبعناها ؟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3E36A34-CA72-83D1-154F-D20E46CF1A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6000" y="1989000"/>
            <a:ext cx="4032000" cy="2880000"/>
          </a:xfrm>
          <a:prstGeom prst="rect">
            <a:avLst/>
          </a:prstGeom>
        </p:spPr>
      </p:pic>
      <p:grpSp>
        <p:nvGrpSpPr>
          <p:cNvPr id="2" name="Groupe 13">
            <a:extLst>
              <a:ext uri="{FF2B5EF4-FFF2-40B4-BE49-F238E27FC236}">
                <a16:creationId xmlns:a16="http://schemas.microsoft.com/office/drawing/2014/main" id="{B173220E-69FA-03BB-5367-377E8A19A4E2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0" name="Rectangle : coins arrondis 14">
              <a:extLst>
                <a:ext uri="{FF2B5EF4-FFF2-40B4-BE49-F238E27FC236}">
                  <a16:creationId xmlns:a16="http://schemas.microsoft.com/office/drawing/2014/main" id="{AF86C373-E706-5B76-6354-52051A6681C8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5" name="Rectangle : coins arrondis 15">
              <a:extLst>
                <a:ext uri="{FF2B5EF4-FFF2-40B4-BE49-F238E27FC236}">
                  <a16:creationId xmlns:a16="http://schemas.microsoft.com/office/drawing/2014/main" id="{E130281A-7422-B206-FD5A-6FC6C76E2318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6" name="Rectangle : coins arrondis 16">
              <a:extLst>
                <a:ext uri="{FF2B5EF4-FFF2-40B4-BE49-F238E27FC236}">
                  <a16:creationId xmlns:a16="http://schemas.microsoft.com/office/drawing/2014/main" id="{8BC65878-4624-06BA-06E0-91D2579C9657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17" name="Rectangle : coins arrondis 17">
              <a:extLst>
                <a:ext uri="{FF2B5EF4-FFF2-40B4-BE49-F238E27FC236}">
                  <a16:creationId xmlns:a16="http://schemas.microsoft.com/office/drawing/2014/main" id="{C6D3FC07-4465-96D5-F782-50D736E21020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18" name="Rectangle : coins arrondis 18">
              <a:extLst>
                <a:ext uri="{FF2B5EF4-FFF2-40B4-BE49-F238E27FC236}">
                  <a16:creationId xmlns:a16="http://schemas.microsoft.com/office/drawing/2014/main" id="{6CD6E023-7F08-37FD-8D40-83C34A8D1C0C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592180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0DB2E-4A1E-30E9-B943-D177DD746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48368D9-ACB9-9780-A13D-32000C232F38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2C7FE96D-387D-BCD0-9D0C-774F24BEEB46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DAD4BDCD-9071-716F-4342-AEB51A055A9F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AF6855E7-625F-7ABD-E325-3E44DD1FC939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7EA612A7-6D3E-64CD-B2D7-91047DCF84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5" name="ZoneTexte 13">
            <a:extLst>
              <a:ext uri="{FF2B5EF4-FFF2-40B4-BE49-F238E27FC236}">
                <a16:creationId xmlns:a16="http://schemas.microsoft.com/office/drawing/2014/main" id="{B3C43FA7-ECDA-B114-8B10-1102A026CDEF}"/>
              </a:ext>
            </a:extLst>
          </p:cNvPr>
          <p:cNvSpPr txBox="1"/>
          <p:nvPr/>
        </p:nvSpPr>
        <p:spPr>
          <a:xfrm>
            <a:off x="1709260" y="547024"/>
            <a:ext cx="65507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لا تنسوا إنجاز الواجبات </a:t>
            </a: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نزلية. إلى اللقاء في الحصة القادمة. </a:t>
            </a:r>
            <a:endParaRPr kumimoji="0" lang="ar-MA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0611F335-92D1-6AD0-14AD-A7E876EAC12E}"/>
              </a:ext>
            </a:extLst>
          </p:cNvPr>
          <p:cNvGrpSpPr/>
          <p:nvPr/>
        </p:nvGrpSpPr>
        <p:grpSpPr>
          <a:xfrm>
            <a:off x="287476" y="901226"/>
            <a:ext cx="8530450" cy="5776259"/>
            <a:chOff x="287476" y="901226"/>
            <a:chExt cx="8530450" cy="5776259"/>
          </a:xfrm>
        </p:grpSpPr>
        <p:pic>
          <p:nvPicPr>
            <p:cNvPr id="2" name="Image 7">
              <a:extLst>
                <a:ext uri="{FF2B5EF4-FFF2-40B4-BE49-F238E27FC236}">
                  <a16:creationId xmlns:a16="http://schemas.microsoft.com/office/drawing/2014/main" id="{0C0EAD58-990C-7A90-87D3-099D37D43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8959" y="901226"/>
              <a:ext cx="8518967" cy="5776259"/>
            </a:xfrm>
            <a:prstGeom prst="rect">
              <a:avLst/>
            </a:prstGeom>
          </p:spPr>
        </p:pic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AADA720E-B240-0FC0-33FC-0CE02EF95F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r="9011"/>
            <a:stretch>
              <a:fillRect/>
            </a:stretch>
          </p:blipFill>
          <p:spPr>
            <a:xfrm>
              <a:off x="287476" y="980728"/>
              <a:ext cx="3746298" cy="3996000"/>
            </a:xfrm>
            <a:prstGeom prst="rect">
              <a:avLst/>
            </a:prstGeom>
          </p:spPr>
        </p:pic>
      </p:grpSp>
      <p:sp>
        <p:nvSpPr>
          <p:cNvPr id="17" name="ZoneTexte 16">
            <a:extLst>
              <a:ext uri="{FF2B5EF4-FFF2-40B4-BE49-F238E27FC236}">
                <a16:creationId xmlns:a16="http://schemas.microsoft.com/office/drawing/2014/main" id="{4C16DAEF-160B-49A7-E274-7A16D2B9AE05}"/>
              </a:ext>
            </a:extLst>
          </p:cNvPr>
          <p:cNvSpPr txBox="1"/>
          <p:nvPr/>
        </p:nvSpPr>
        <p:spPr>
          <a:xfrm>
            <a:off x="535640" y="2807927"/>
            <a:ext cx="5367952" cy="461665"/>
          </a:xfrm>
          <a:custGeom>
            <a:avLst/>
            <a:gdLst>
              <a:gd name="connsiteX0" fmla="*/ 0 w 7189308"/>
              <a:gd name="connsiteY0" fmla="*/ 0 h 523220"/>
              <a:gd name="connsiteX1" fmla="*/ 7189308 w 7189308"/>
              <a:gd name="connsiteY1" fmla="*/ 0 h 523220"/>
              <a:gd name="connsiteX2" fmla="*/ 7189308 w 7189308"/>
              <a:gd name="connsiteY2" fmla="*/ 523220 h 523220"/>
              <a:gd name="connsiteX3" fmla="*/ 0 w 7189308"/>
              <a:gd name="connsiteY3" fmla="*/ 523220 h 523220"/>
              <a:gd name="connsiteX4" fmla="*/ 0 w 7189308"/>
              <a:gd name="connsiteY4" fmla="*/ 0 h 523220"/>
              <a:gd name="connsiteX0" fmla="*/ 0 w 7189308"/>
              <a:gd name="connsiteY0" fmla="*/ 22 h 523242"/>
              <a:gd name="connsiteX1" fmla="*/ 1804366 w 7189308"/>
              <a:gd name="connsiteY1" fmla="*/ 52158 h 523242"/>
              <a:gd name="connsiteX2" fmla="*/ 7189308 w 7189308"/>
              <a:gd name="connsiteY2" fmla="*/ 22 h 523242"/>
              <a:gd name="connsiteX3" fmla="*/ 7189308 w 7189308"/>
              <a:gd name="connsiteY3" fmla="*/ 523242 h 523242"/>
              <a:gd name="connsiteX4" fmla="*/ 0 w 7189308"/>
              <a:gd name="connsiteY4" fmla="*/ 523242 h 523242"/>
              <a:gd name="connsiteX5" fmla="*/ 0 w 7189308"/>
              <a:gd name="connsiteY5" fmla="*/ 22 h 523242"/>
              <a:gd name="connsiteX0" fmla="*/ 0 w 7189308"/>
              <a:gd name="connsiteY0" fmla="*/ 22 h 523242"/>
              <a:gd name="connsiteX1" fmla="*/ 1804366 w 7189308"/>
              <a:gd name="connsiteY1" fmla="*/ 52158 h 523242"/>
              <a:gd name="connsiteX2" fmla="*/ 7189308 w 7189308"/>
              <a:gd name="connsiteY2" fmla="*/ 22 h 523242"/>
              <a:gd name="connsiteX3" fmla="*/ 7189308 w 7189308"/>
              <a:gd name="connsiteY3" fmla="*/ 523242 h 523242"/>
              <a:gd name="connsiteX4" fmla="*/ 5256692 w 7189308"/>
              <a:gd name="connsiteY4" fmla="*/ 462705 h 523242"/>
              <a:gd name="connsiteX5" fmla="*/ 0 w 7189308"/>
              <a:gd name="connsiteY5" fmla="*/ 523242 h 523242"/>
              <a:gd name="connsiteX6" fmla="*/ 0 w 7189308"/>
              <a:gd name="connsiteY6" fmla="*/ 22 h 523242"/>
              <a:gd name="connsiteX0" fmla="*/ 0 w 7189308"/>
              <a:gd name="connsiteY0" fmla="*/ 22 h 523242"/>
              <a:gd name="connsiteX1" fmla="*/ 1804366 w 7189308"/>
              <a:gd name="connsiteY1" fmla="*/ 52158 h 523242"/>
              <a:gd name="connsiteX2" fmla="*/ 7189308 w 7189308"/>
              <a:gd name="connsiteY2" fmla="*/ 22 h 523242"/>
              <a:gd name="connsiteX3" fmla="*/ 7189308 w 7189308"/>
              <a:gd name="connsiteY3" fmla="*/ 523242 h 523242"/>
              <a:gd name="connsiteX4" fmla="*/ 5266023 w 7189308"/>
              <a:gd name="connsiteY4" fmla="*/ 509358 h 523242"/>
              <a:gd name="connsiteX5" fmla="*/ 0 w 7189308"/>
              <a:gd name="connsiteY5" fmla="*/ 523242 h 523242"/>
              <a:gd name="connsiteX6" fmla="*/ 0 w 7189308"/>
              <a:gd name="connsiteY6" fmla="*/ 22 h 523242"/>
              <a:gd name="connsiteX0" fmla="*/ 0 w 7189308"/>
              <a:gd name="connsiteY0" fmla="*/ 0 h 523220"/>
              <a:gd name="connsiteX1" fmla="*/ 1823028 w 7189308"/>
              <a:gd name="connsiteY1" fmla="*/ 14814 h 523220"/>
              <a:gd name="connsiteX2" fmla="*/ 7189308 w 7189308"/>
              <a:gd name="connsiteY2" fmla="*/ 0 h 523220"/>
              <a:gd name="connsiteX3" fmla="*/ 7189308 w 7189308"/>
              <a:gd name="connsiteY3" fmla="*/ 523220 h 523220"/>
              <a:gd name="connsiteX4" fmla="*/ 5266023 w 7189308"/>
              <a:gd name="connsiteY4" fmla="*/ 509336 h 523220"/>
              <a:gd name="connsiteX5" fmla="*/ 0 w 7189308"/>
              <a:gd name="connsiteY5" fmla="*/ 523220 h 523220"/>
              <a:gd name="connsiteX6" fmla="*/ 0 w 7189308"/>
              <a:gd name="connsiteY6" fmla="*/ 0 h 523220"/>
              <a:gd name="connsiteX0" fmla="*/ 0 w 7189308"/>
              <a:gd name="connsiteY0" fmla="*/ 13178 h 536398"/>
              <a:gd name="connsiteX1" fmla="*/ 1823028 w 7189308"/>
              <a:gd name="connsiteY1" fmla="*/ 27992 h 536398"/>
              <a:gd name="connsiteX2" fmla="*/ 5489958 w 7189308"/>
              <a:gd name="connsiteY2" fmla="*/ 0 h 536398"/>
              <a:gd name="connsiteX3" fmla="*/ 7189308 w 7189308"/>
              <a:gd name="connsiteY3" fmla="*/ 13178 h 536398"/>
              <a:gd name="connsiteX4" fmla="*/ 7189308 w 7189308"/>
              <a:gd name="connsiteY4" fmla="*/ 536398 h 536398"/>
              <a:gd name="connsiteX5" fmla="*/ 5266023 w 7189308"/>
              <a:gd name="connsiteY5" fmla="*/ 522514 h 536398"/>
              <a:gd name="connsiteX6" fmla="*/ 0 w 7189308"/>
              <a:gd name="connsiteY6" fmla="*/ 536398 h 536398"/>
              <a:gd name="connsiteX7" fmla="*/ 0 w 7189308"/>
              <a:gd name="connsiteY7" fmla="*/ 13178 h 536398"/>
              <a:gd name="connsiteX0" fmla="*/ 0 w 7189308"/>
              <a:gd name="connsiteY0" fmla="*/ 13178 h 559837"/>
              <a:gd name="connsiteX1" fmla="*/ 1823028 w 7189308"/>
              <a:gd name="connsiteY1" fmla="*/ 27992 h 559837"/>
              <a:gd name="connsiteX2" fmla="*/ 5489958 w 7189308"/>
              <a:gd name="connsiteY2" fmla="*/ 0 h 559837"/>
              <a:gd name="connsiteX3" fmla="*/ 7189308 w 7189308"/>
              <a:gd name="connsiteY3" fmla="*/ 13178 h 559837"/>
              <a:gd name="connsiteX4" fmla="*/ 7189308 w 7189308"/>
              <a:gd name="connsiteY4" fmla="*/ 536398 h 559837"/>
              <a:gd name="connsiteX5" fmla="*/ 5266023 w 7189308"/>
              <a:gd name="connsiteY5" fmla="*/ 522514 h 559837"/>
              <a:gd name="connsiteX6" fmla="*/ 3521198 w 7189308"/>
              <a:gd name="connsiteY6" fmla="*/ 559837 h 559837"/>
              <a:gd name="connsiteX7" fmla="*/ 0 w 7189308"/>
              <a:gd name="connsiteY7" fmla="*/ 536398 h 559837"/>
              <a:gd name="connsiteX8" fmla="*/ 0 w 7189308"/>
              <a:gd name="connsiteY8" fmla="*/ 13178 h 559837"/>
              <a:gd name="connsiteX0" fmla="*/ 0 w 7189308"/>
              <a:gd name="connsiteY0" fmla="*/ 13178 h 559837"/>
              <a:gd name="connsiteX1" fmla="*/ 1823028 w 7189308"/>
              <a:gd name="connsiteY1" fmla="*/ 27992 h 559837"/>
              <a:gd name="connsiteX2" fmla="*/ 3474545 w 7189308"/>
              <a:gd name="connsiteY2" fmla="*/ 55983 h 559837"/>
              <a:gd name="connsiteX3" fmla="*/ 5489958 w 7189308"/>
              <a:gd name="connsiteY3" fmla="*/ 0 h 559837"/>
              <a:gd name="connsiteX4" fmla="*/ 7189308 w 7189308"/>
              <a:gd name="connsiteY4" fmla="*/ 13178 h 559837"/>
              <a:gd name="connsiteX5" fmla="*/ 7189308 w 7189308"/>
              <a:gd name="connsiteY5" fmla="*/ 536398 h 559837"/>
              <a:gd name="connsiteX6" fmla="*/ 5266023 w 7189308"/>
              <a:gd name="connsiteY6" fmla="*/ 522514 h 559837"/>
              <a:gd name="connsiteX7" fmla="*/ 3521198 w 7189308"/>
              <a:gd name="connsiteY7" fmla="*/ 559837 h 559837"/>
              <a:gd name="connsiteX8" fmla="*/ 0 w 7189308"/>
              <a:gd name="connsiteY8" fmla="*/ 536398 h 559837"/>
              <a:gd name="connsiteX9" fmla="*/ 0 w 7189308"/>
              <a:gd name="connsiteY9" fmla="*/ 13178 h 559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89308" h="559837">
                <a:moveTo>
                  <a:pt x="0" y="13178"/>
                </a:moveTo>
                <a:lnTo>
                  <a:pt x="1823028" y="27992"/>
                </a:lnTo>
                <a:cubicBezTo>
                  <a:pt x="2373534" y="24882"/>
                  <a:pt x="2924039" y="59093"/>
                  <a:pt x="3474545" y="55983"/>
                </a:cubicBezTo>
                <a:lnTo>
                  <a:pt x="5489958" y="0"/>
                </a:lnTo>
                <a:lnTo>
                  <a:pt x="7189308" y="13178"/>
                </a:lnTo>
                <a:lnTo>
                  <a:pt x="7189308" y="536398"/>
                </a:lnTo>
                <a:lnTo>
                  <a:pt x="5266023" y="522514"/>
                </a:lnTo>
                <a:cubicBezTo>
                  <a:pt x="4684415" y="522514"/>
                  <a:pt x="4102806" y="559837"/>
                  <a:pt x="3521198" y="559837"/>
                </a:cubicBezTo>
                <a:lnTo>
                  <a:pt x="0" y="536398"/>
                </a:lnTo>
                <a:lnTo>
                  <a:pt x="0" y="13178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 rtl="1"/>
            <a:r>
              <a:rPr lang="ar-MA" sz="2400" b="1" dirty="0">
                <a:solidFill>
                  <a:schemeClr val="accent3">
                    <a:lumMod val="50000"/>
                  </a:schemeClr>
                </a:solidFill>
              </a:rPr>
              <a:t>المستوى 5: نشاط التدرب والتعمق رقم 3 ص: 15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668B8AB-E250-5456-BBB8-FD6BF5EB66C0}"/>
              </a:ext>
            </a:extLst>
          </p:cNvPr>
          <p:cNvSpPr txBox="1"/>
          <p:nvPr/>
        </p:nvSpPr>
        <p:spPr>
          <a:xfrm>
            <a:off x="535640" y="3500737"/>
            <a:ext cx="5367952" cy="461665"/>
          </a:xfrm>
          <a:custGeom>
            <a:avLst/>
            <a:gdLst>
              <a:gd name="connsiteX0" fmla="*/ 0 w 7189308"/>
              <a:gd name="connsiteY0" fmla="*/ 0 h 523220"/>
              <a:gd name="connsiteX1" fmla="*/ 7189308 w 7189308"/>
              <a:gd name="connsiteY1" fmla="*/ 0 h 523220"/>
              <a:gd name="connsiteX2" fmla="*/ 7189308 w 7189308"/>
              <a:gd name="connsiteY2" fmla="*/ 523220 h 523220"/>
              <a:gd name="connsiteX3" fmla="*/ 0 w 7189308"/>
              <a:gd name="connsiteY3" fmla="*/ 523220 h 523220"/>
              <a:gd name="connsiteX4" fmla="*/ 0 w 7189308"/>
              <a:gd name="connsiteY4" fmla="*/ 0 h 523220"/>
              <a:gd name="connsiteX0" fmla="*/ 0 w 7189308"/>
              <a:gd name="connsiteY0" fmla="*/ 22 h 523242"/>
              <a:gd name="connsiteX1" fmla="*/ 1804366 w 7189308"/>
              <a:gd name="connsiteY1" fmla="*/ 52158 h 523242"/>
              <a:gd name="connsiteX2" fmla="*/ 7189308 w 7189308"/>
              <a:gd name="connsiteY2" fmla="*/ 22 h 523242"/>
              <a:gd name="connsiteX3" fmla="*/ 7189308 w 7189308"/>
              <a:gd name="connsiteY3" fmla="*/ 523242 h 523242"/>
              <a:gd name="connsiteX4" fmla="*/ 0 w 7189308"/>
              <a:gd name="connsiteY4" fmla="*/ 523242 h 523242"/>
              <a:gd name="connsiteX5" fmla="*/ 0 w 7189308"/>
              <a:gd name="connsiteY5" fmla="*/ 22 h 523242"/>
              <a:gd name="connsiteX0" fmla="*/ 0 w 7189308"/>
              <a:gd name="connsiteY0" fmla="*/ 22 h 523242"/>
              <a:gd name="connsiteX1" fmla="*/ 1804366 w 7189308"/>
              <a:gd name="connsiteY1" fmla="*/ 52158 h 523242"/>
              <a:gd name="connsiteX2" fmla="*/ 7189308 w 7189308"/>
              <a:gd name="connsiteY2" fmla="*/ 22 h 523242"/>
              <a:gd name="connsiteX3" fmla="*/ 7189308 w 7189308"/>
              <a:gd name="connsiteY3" fmla="*/ 523242 h 523242"/>
              <a:gd name="connsiteX4" fmla="*/ 5256692 w 7189308"/>
              <a:gd name="connsiteY4" fmla="*/ 462705 h 523242"/>
              <a:gd name="connsiteX5" fmla="*/ 0 w 7189308"/>
              <a:gd name="connsiteY5" fmla="*/ 523242 h 523242"/>
              <a:gd name="connsiteX6" fmla="*/ 0 w 7189308"/>
              <a:gd name="connsiteY6" fmla="*/ 22 h 523242"/>
              <a:gd name="connsiteX0" fmla="*/ 0 w 7189308"/>
              <a:gd name="connsiteY0" fmla="*/ 22 h 523242"/>
              <a:gd name="connsiteX1" fmla="*/ 1804366 w 7189308"/>
              <a:gd name="connsiteY1" fmla="*/ 52158 h 523242"/>
              <a:gd name="connsiteX2" fmla="*/ 7189308 w 7189308"/>
              <a:gd name="connsiteY2" fmla="*/ 22 h 523242"/>
              <a:gd name="connsiteX3" fmla="*/ 7189308 w 7189308"/>
              <a:gd name="connsiteY3" fmla="*/ 523242 h 523242"/>
              <a:gd name="connsiteX4" fmla="*/ 5266023 w 7189308"/>
              <a:gd name="connsiteY4" fmla="*/ 509358 h 523242"/>
              <a:gd name="connsiteX5" fmla="*/ 0 w 7189308"/>
              <a:gd name="connsiteY5" fmla="*/ 523242 h 523242"/>
              <a:gd name="connsiteX6" fmla="*/ 0 w 7189308"/>
              <a:gd name="connsiteY6" fmla="*/ 22 h 523242"/>
              <a:gd name="connsiteX0" fmla="*/ 0 w 7189308"/>
              <a:gd name="connsiteY0" fmla="*/ 0 h 523220"/>
              <a:gd name="connsiteX1" fmla="*/ 1823028 w 7189308"/>
              <a:gd name="connsiteY1" fmla="*/ 14814 h 523220"/>
              <a:gd name="connsiteX2" fmla="*/ 7189308 w 7189308"/>
              <a:gd name="connsiteY2" fmla="*/ 0 h 523220"/>
              <a:gd name="connsiteX3" fmla="*/ 7189308 w 7189308"/>
              <a:gd name="connsiteY3" fmla="*/ 523220 h 523220"/>
              <a:gd name="connsiteX4" fmla="*/ 5266023 w 7189308"/>
              <a:gd name="connsiteY4" fmla="*/ 509336 h 523220"/>
              <a:gd name="connsiteX5" fmla="*/ 0 w 7189308"/>
              <a:gd name="connsiteY5" fmla="*/ 523220 h 523220"/>
              <a:gd name="connsiteX6" fmla="*/ 0 w 7189308"/>
              <a:gd name="connsiteY6" fmla="*/ 0 h 523220"/>
              <a:gd name="connsiteX0" fmla="*/ 0 w 7189308"/>
              <a:gd name="connsiteY0" fmla="*/ 13178 h 536398"/>
              <a:gd name="connsiteX1" fmla="*/ 1823028 w 7189308"/>
              <a:gd name="connsiteY1" fmla="*/ 27992 h 536398"/>
              <a:gd name="connsiteX2" fmla="*/ 5489958 w 7189308"/>
              <a:gd name="connsiteY2" fmla="*/ 0 h 536398"/>
              <a:gd name="connsiteX3" fmla="*/ 7189308 w 7189308"/>
              <a:gd name="connsiteY3" fmla="*/ 13178 h 536398"/>
              <a:gd name="connsiteX4" fmla="*/ 7189308 w 7189308"/>
              <a:gd name="connsiteY4" fmla="*/ 536398 h 536398"/>
              <a:gd name="connsiteX5" fmla="*/ 5266023 w 7189308"/>
              <a:gd name="connsiteY5" fmla="*/ 522514 h 536398"/>
              <a:gd name="connsiteX6" fmla="*/ 0 w 7189308"/>
              <a:gd name="connsiteY6" fmla="*/ 536398 h 536398"/>
              <a:gd name="connsiteX7" fmla="*/ 0 w 7189308"/>
              <a:gd name="connsiteY7" fmla="*/ 13178 h 536398"/>
              <a:gd name="connsiteX0" fmla="*/ 0 w 7189308"/>
              <a:gd name="connsiteY0" fmla="*/ 13178 h 559837"/>
              <a:gd name="connsiteX1" fmla="*/ 1823028 w 7189308"/>
              <a:gd name="connsiteY1" fmla="*/ 27992 h 559837"/>
              <a:gd name="connsiteX2" fmla="*/ 5489958 w 7189308"/>
              <a:gd name="connsiteY2" fmla="*/ 0 h 559837"/>
              <a:gd name="connsiteX3" fmla="*/ 7189308 w 7189308"/>
              <a:gd name="connsiteY3" fmla="*/ 13178 h 559837"/>
              <a:gd name="connsiteX4" fmla="*/ 7189308 w 7189308"/>
              <a:gd name="connsiteY4" fmla="*/ 536398 h 559837"/>
              <a:gd name="connsiteX5" fmla="*/ 5266023 w 7189308"/>
              <a:gd name="connsiteY5" fmla="*/ 522514 h 559837"/>
              <a:gd name="connsiteX6" fmla="*/ 3521198 w 7189308"/>
              <a:gd name="connsiteY6" fmla="*/ 559837 h 559837"/>
              <a:gd name="connsiteX7" fmla="*/ 0 w 7189308"/>
              <a:gd name="connsiteY7" fmla="*/ 536398 h 559837"/>
              <a:gd name="connsiteX8" fmla="*/ 0 w 7189308"/>
              <a:gd name="connsiteY8" fmla="*/ 13178 h 559837"/>
              <a:gd name="connsiteX0" fmla="*/ 0 w 7189308"/>
              <a:gd name="connsiteY0" fmla="*/ 13178 h 559837"/>
              <a:gd name="connsiteX1" fmla="*/ 1823028 w 7189308"/>
              <a:gd name="connsiteY1" fmla="*/ 27992 h 559837"/>
              <a:gd name="connsiteX2" fmla="*/ 3474545 w 7189308"/>
              <a:gd name="connsiteY2" fmla="*/ 55983 h 559837"/>
              <a:gd name="connsiteX3" fmla="*/ 5489958 w 7189308"/>
              <a:gd name="connsiteY3" fmla="*/ 0 h 559837"/>
              <a:gd name="connsiteX4" fmla="*/ 7189308 w 7189308"/>
              <a:gd name="connsiteY4" fmla="*/ 13178 h 559837"/>
              <a:gd name="connsiteX5" fmla="*/ 7189308 w 7189308"/>
              <a:gd name="connsiteY5" fmla="*/ 536398 h 559837"/>
              <a:gd name="connsiteX6" fmla="*/ 5266023 w 7189308"/>
              <a:gd name="connsiteY6" fmla="*/ 522514 h 559837"/>
              <a:gd name="connsiteX7" fmla="*/ 3521198 w 7189308"/>
              <a:gd name="connsiteY7" fmla="*/ 559837 h 559837"/>
              <a:gd name="connsiteX8" fmla="*/ 0 w 7189308"/>
              <a:gd name="connsiteY8" fmla="*/ 536398 h 559837"/>
              <a:gd name="connsiteX9" fmla="*/ 0 w 7189308"/>
              <a:gd name="connsiteY9" fmla="*/ 13178 h 559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89308" h="559837">
                <a:moveTo>
                  <a:pt x="0" y="13178"/>
                </a:moveTo>
                <a:lnTo>
                  <a:pt x="1823028" y="27992"/>
                </a:lnTo>
                <a:cubicBezTo>
                  <a:pt x="2373534" y="24882"/>
                  <a:pt x="2924039" y="59093"/>
                  <a:pt x="3474545" y="55983"/>
                </a:cubicBezTo>
                <a:lnTo>
                  <a:pt x="5489958" y="0"/>
                </a:lnTo>
                <a:lnTo>
                  <a:pt x="7189308" y="13178"/>
                </a:lnTo>
                <a:lnTo>
                  <a:pt x="7189308" y="536398"/>
                </a:lnTo>
                <a:lnTo>
                  <a:pt x="5266023" y="522514"/>
                </a:lnTo>
                <a:cubicBezTo>
                  <a:pt x="4684415" y="522514"/>
                  <a:pt x="4102806" y="559837"/>
                  <a:pt x="3521198" y="559837"/>
                </a:cubicBezTo>
                <a:lnTo>
                  <a:pt x="0" y="536398"/>
                </a:lnTo>
                <a:lnTo>
                  <a:pt x="0" y="13178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 rtl="1"/>
            <a:r>
              <a:rPr lang="ar-MA" sz="2400" b="1" dirty="0">
                <a:solidFill>
                  <a:schemeClr val="accent4">
                    <a:lumMod val="50000"/>
                  </a:schemeClr>
                </a:solidFill>
              </a:rPr>
              <a:t>المستوى 6: نشاط التدرب والتعمق رقم 3 ص: 15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EF51B02D-8625-2D45-2179-302674E92C88}"/>
              </a:ext>
            </a:extLst>
          </p:cNvPr>
          <p:cNvSpPr txBox="1"/>
          <p:nvPr/>
        </p:nvSpPr>
        <p:spPr>
          <a:xfrm>
            <a:off x="3059832" y="1885256"/>
            <a:ext cx="2843760" cy="646331"/>
          </a:xfrm>
          <a:custGeom>
            <a:avLst/>
            <a:gdLst>
              <a:gd name="connsiteX0" fmla="*/ 0 w 7189308"/>
              <a:gd name="connsiteY0" fmla="*/ 0 h 523220"/>
              <a:gd name="connsiteX1" fmla="*/ 7189308 w 7189308"/>
              <a:gd name="connsiteY1" fmla="*/ 0 h 523220"/>
              <a:gd name="connsiteX2" fmla="*/ 7189308 w 7189308"/>
              <a:gd name="connsiteY2" fmla="*/ 523220 h 523220"/>
              <a:gd name="connsiteX3" fmla="*/ 0 w 7189308"/>
              <a:gd name="connsiteY3" fmla="*/ 523220 h 523220"/>
              <a:gd name="connsiteX4" fmla="*/ 0 w 7189308"/>
              <a:gd name="connsiteY4" fmla="*/ 0 h 523220"/>
              <a:gd name="connsiteX0" fmla="*/ 0 w 7189308"/>
              <a:gd name="connsiteY0" fmla="*/ 22 h 523242"/>
              <a:gd name="connsiteX1" fmla="*/ 1804366 w 7189308"/>
              <a:gd name="connsiteY1" fmla="*/ 52158 h 523242"/>
              <a:gd name="connsiteX2" fmla="*/ 7189308 w 7189308"/>
              <a:gd name="connsiteY2" fmla="*/ 22 h 523242"/>
              <a:gd name="connsiteX3" fmla="*/ 7189308 w 7189308"/>
              <a:gd name="connsiteY3" fmla="*/ 523242 h 523242"/>
              <a:gd name="connsiteX4" fmla="*/ 0 w 7189308"/>
              <a:gd name="connsiteY4" fmla="*/ 523242 h 523242"/>
              <a:gd name="connsiteX5" fmla="*/ 0 w 7189308"/>
              <a:gd name="connsiteY5" fmla="*/ 22 h 523242"/>
              <a:gd name="connsiteX0" fmla="*/ 0 w 7189308"/>
              <a:gd name="connsiteY0" fmla="*/ 22 h 523242"/>
              <a:gd name="connsiteX1" fmla="*/ 1804366 w 7189308"/>
              <a:gd name="connsiteY1" fmla="*/ 52158 h 523242"/>
              <a:gd name="connsiteX2" fmla="*/ 7189308 w 7189308"/>
              <a:gd name="connsiteY2" fmla="*/ 22 h 523242"/>
              <a:gd name="connsiteX3" fmla="*/ 7189308 w 7189308"/>
              <a:gd name="connsiteY3" fmla="*/ 523242 h 523242"/>
              <a:gd name="connsiteX4" fmla="*/ 5256692 w 7189308"/>
              <a:gd name="connsiteY4" fmla="*/ 462705 h 523242"/>
              <a:gd name="connsiteX5" fmla="*/ 0 w 7189308"/>
              <a:gd name="connsiteY5" fmla="*/ 523242 h 523242"/>
              <a:gd name="connsiteX6" fmla="*/ 0 w 7189308"/>
              <a:gd name="connsiteY6" fmla="*/ 22 h 523242"/>
              <a:gd name="connsiteX0" fmla="*/ 0 w 7189308"/>
              <a:gd name="connsiteY0" fmla="*/ 22 h 523242"/>
              <a:gd name="connsiteX1" fmla="*/ 1804366 w 7189308"/>
              <a:gd name="connsiteY1" fmla="*/ 52158 h 523242"/>
              <a:gd name="connsiteX2" fmla="*/ 7189308 w 7189308"/>
              <a:gd name="connsiteY2" fmla="*/ 22 h 523242"/>
              <a:gd name="connsiteX3" fmla="*/ 7189308 w 7189308"/>
              <a:gd name="connsiteY3" fmla="*/ 523242 h 523242"/>
              <a:gd name="connsiteX4" fmla="*/ 5266023 w 7189308"/>
              <a:gd name="connsiteY4" fmla="*/ 509358 h 523242"/>
              <a:gd name="connsiteX5" fmla="*/ 0 w 7189308"/>
              <a:gd name="connsiteY5" fmla="*/ 523242 h 523242"/>
              <a:gd name="connsiteX6" fmla="*/ 0 w 7189308"/>
              <a:gd name="connsiteY6" fmla="*/ 22 h 523242"/>
              <a:gd name="connsiteX0" fmla="*/ 0 w 7189308"/>
              <a:gd name="connsiteY0" fmla="*/ 0 h 523220"/>
              <a:gd name="connsiteX1" fmla="*/ 1823028 w 7189308"/>
              <a:gd name="connsiteY1" fmla="*/ 14814 h 523220"/>
              <a:gd name="connsiteX2" fmla="*/ 7189308 w 7189308"/>
              <a:gd name="connsiteY2" fmla="*/ 0 h 523220"/>
              <a:gd name="connsiteX3" fmla="*/ 7189308 w 7189308"/>
              <a:gd name="connsiteY3" fmla="*/ 523220 h 523220"/>
              <a:gd name="connsiteX4" fmla="*/ 5266023 w 7189308"/>
              <a:gd name="connsiteY4" fmla="*/ 509336 h 523220"/>
              <a:gd name="connsiteX5" fmla="*/ 0 w 7189308"/>
              <a:gd name="connsiteY5" fmla="*/ 523220 h 523220"/>
              <a:gd name="connsiteX6" fmla="*/ 0 w 7189308"/>
              <a:gd name="connsiteY6" fmla="*/ 0 h 523220"/>
              <a:gd name="connsiteX0" fmla="*/ 0 w 7189308"/>
              <a:gd name="connsiteY0" fmla="*/ 13178 h 536398"/>
              <a:gd name="connsiteX1" fmla="*/ 1823028 w 7189308"/>
              <a:gd name="connsiteY1" fmla="*/ 27992 h 536398"/>
              <a:gd name="connsiteX2" fmla="*/ 5489958 w 7189308"/>
              <a:gd name="connsiteY2" fmla="*/ 0 h 536398"/>
              <a:gd name="connsiteX3" fmla="*/ 7189308 w 7189308"/>
              <a:gd name="connsiteY3" fmla="*/ 13178 h 536398"/>
              <a:gd name="connsiteX4" fmla="*/ 7189308 w 7189308"/>
              <a:gd name="connsiteY4" fmla="*/ 536398 h 536398"/>
              <a:gd name="connsiteX5" fmla="*/ 5266023 w 7189308"/>
              <a:gd name="connsiteY5" fmla="*/ 522514 h 536398"/>
              <a:gd name="connsiteX6" fmla="*/ 0 w 7189308"/>
              <a:gd name="connsiteY6" fmla="*/ 536398 h 536398"/>
              <a:gd name="connsiteX7" fmla="*/ 0 w 7189308"/>
              <a:gd name="connsiteY7" fmla="*/ 13178 h 536398"/>
              <a:gd name="connsiteX0" fmla="*/ 0 w 7189308"/>
              <a:gd name="connsiteY0" fmla="*/ 13178 h 559837"/>
              <a:gd name="connsiteX1" fmla="*/ 1823028 w 7189308"/>
              <a:gd name="connsiteY1" fmla="*/ 27992 h 559837"/>
              <a:gd name="connsiteX2" fmla="*/ 5489958 w 7189308"/>
              <a:gd name="connsiteY2" fmla="*/ 0 h 559837"/>
              <a:gd name="connsiteX3" fmla="*/ 7189308 w 7189308"/>
              <a:gd name="connsiteY3" fmla="*/ 13178 h 559837"/>
              <a:gd name="connsiteX4" fmla="*/ 7189308 w 7189308"/>
              <a:gd name="connsiteY4" fmla="*/ 536398 h 559837"/>
              <a:gd name="connsiteX5" fmla="*/ 5266023 w 7189308"/>
              <a:gd name="connsiteY5" fmla="*/ 522514 h 559837"/>
              <a:gd name="connsiteX6" fmla="*/ 3521198 w 7189308"/>
              <a:gd name="connsiteY6" fmla="*/ 559837 h 559837"/>
              <a:gd name="connsiteX7" fmla="*/ 0 w 7189308"/>
              <a:gd name="connsiteY7" fmla="*/ 536398 h 559837"/>
              <a:gd name="connsiteX8" fmla="*/ 0 w 7189308"/>
              <a:gd name="connsiteY8" fmla="*/ 13178 h 559837"/>
              <a:gd name="connsiteX0" fmla="*/ 0 w 7189308"/>
              <a:gd name="connsiteY0" fmla="*/ 13178 h 559837"/>
              <a:gd name="connsiteX1" fmla="*/ 1823028 w 7189308"/>
              <a:gd name="connsiteY1" fmla="*/ 27992 h 559837"/>
              <a:gd name="connsiteX2" fmla="*/ 3474545 w 7189308"/>
              <a:gd name="connsiteY2" fmla="*/ 55983 h 559837"/>
              <a:gd name="connsiteX3" fmla="*/ 5489958 w 7189308"/>
              <a:gd name="connsiteY3" fmla="*/ 0 h 559837"/>
              <a:gd name="connsiteX4" fmla="*/ 7189308 w 7189308"/>
              <a:gd name="connsiteY4" fmla="*/ 13178 h 559837"/>
              <a:gd name="connsiteX5" fmla="*/ 7189308 w 7189308"/>
              <a:gd name="connsiteY5" fmla="*/ 536398 h 559837"/>
              <a:gd name="connsiteX6" fmla="*/ 5266023 w 7189308"/>
              <a:gd name="connsiteY6" fmla="*/ 522514 h 559837"/>
              <a:gd name="connsiteX7" fmla="*/ 3521198 w 7189308"/>
              <a:gd name="connsiteY7" fmla="*/ 559837 h 559837"/>
              <a:gd name="connsiteX8" fmla="*/ 0 w 7189308"/>
              <a:gd name="connsiteY8" fmla="*/ 536398 h 559837"/>
              <a:gd name="connsiteX9" fmla="*/ 0 w 7189308"/>
              <a:gd name="connsiteY9" fmla="*/ 13178 h 559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89308" h="559837">
                <a:moveTo>
                  <a:pt x="0" y="13178"/>
                </a:moveTo>
                <a:lnTo>
                  <a:pt x="1823028" y="27992"/>
                </a:lnTo>
                <a:cubicBezTo>
                  <a:pt x="2373534" y="24882"/>
                  <a:pt x="2924039" y="59093"/>
                  <a:pt x="3474545" y="55983"/>
                </a:cubicBezTo>
                <a:lnTo>
                  <a:pt x="5489958" y="0"/>
                </a:lnTo>
                <a:lnTo>
                  <a:pt x="7189308" y="13178"/>
                </a:lnTo>
                <a:lnTo>
                  <a:pt x="7189308" y="536398"/>
                </a:lnTo>
                <a:lnTo>
                  <a:pt x="5266023" y="522514"/>
                </a:lnTo>
                <a:cubicBezTo>
                  <a:pt x="4684415" y="522514"/>
                  <a:pt x="4102806" y="559837"/>
                  <a:pt x="3521198" y="559837"/>
                </a:cubicBezTo>
                <a:lnTo>
                  <a:pt x="0" y="536398"/>
                </a:lnTo>
                <a:lnTo>
                  <a:pt x="0" y="1317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 rtl="1"/>
            <a:r>
              <a:rPr lang="ar-MA" sz="3600" b="1" dirty="0">
                <a:solidFill>
                  <a:srgbClr val="C00000"/>
                </a:solidFill>
              </a:rPr>
              <a:t>الواجبات المنزلية</a:t>
            </a:r>
          </a:p>
        </p:txBody>
      </p:sp>
      <p:grpSp>
        <p:nvGrpSpPr>
          <p:cNvPr id="4" name="Groupe 13">
            <a:extLst>
              <a:ext uri="{FF2B5EF4-FFF2-40B4-BE49-F238E27FC236}">
                <a16:creationId xmlns:a16="http://schemas.microsoft.com/office/drawing/2014/main" id="{CBC7AB2D-2E8B-1DE0-BD78-1D9081F0CF38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8" name="Rectangle : coins arrondis 14">
              <a:extLst>
                <a:ext uri="{FF2B5EF4-FFF2-40B4-BE49-F238E27FC236}">
                  <a16:creationId xmlns:a16="http://schemas.microsoft.com/office/drawing/2014/main" id="{89796217-BC04-62DF-403F-06A7F37AC91D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0" name="Rectangle : coins arrondis 15">
              <a:extLst>
                <a:ext uri="{FF2B5EF4-FFF2-40B4-BE49-F238E27FC236}">
                  <a16:creationId xmlns:a16="http://schemas.microsoft.com/office/drawing/2014/main" id="{A4637A5B-532B-F24F-20AC-9EF1AFC6CC3A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0" name="Rectangle : coins arrondis 16">
              <a:extLst>
                <a:ext uri="{FF2B5EF4-FFF2-40B4-BE49-F238E27FC236}">
                  <a16:creationId xmlns:a16="http://schemas.microsoft.com/office/drawing/2014/main" id="{D00367BF-B5EB-D6D3-9201-416F011C021B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3" name="Rectangle : coins arrondis 17">
              <a:extLst>
                <a:ext uri="{FF2B5EF4-FFF2-40B4-BE49-F238E27FC236}">
                  <a16:creationId xmlns:a16="http://schemas.microsoft.com/office/drawing/2014/main" id="{2A5536F7-B5F4-A584-8C85-F5FF25C39C52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4" name="Rectangle : coins arrondis 18">
              <a:extLst>
                <a:ext uri="{FF2B5EF4-FFF2-40B4-BE49-F238E27FC236}">
                  <a16:creationId xmlns:a16="http://schemas.microsoft.com/office/drawing/2014/main" id="{0D1F86D7-9834-FB98-4BD9-A03E223F0029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53203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7F0573-F660-14AC-8A84-6C691C380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58F2D1-F3CB-A3B2-56F3-CB877111D6F4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3DA72F0-8FDF-279F-7289-EAFDD256F267}"/>
              </a:ext>
            </a:extLst>
          </p:cNvPr>
          <p:cNvGrpSpPr/>
          <p:nvPr/>
        </p:nvGrpSpPr>
        <p:grpSpPr>
          <a:xfrm>
            <a:off x="310444" y="392280"/>
            <a:ext cx="8539752" cy="6277080"/>
            <a:chOff x="310444" y="383937"/>
            <a:chExt cx="8539752" cy="6130461"/>
          </a:xfrm>
        </p:grpSpPr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DD994F46-C74E-24D1-62F3-443133813E61}"/>
                </a:ext>
              </a:extLst>
            </p:cNvPr>
            <p:cNvGrpSpPr/>
            <p:nvPr/>
          </p:nvGrpSpPr>
          <p:grpSpPr>
            <a:xfrm>
              <a:off x="310444" y="383937"/>
              <a:ext cx="8539752" cy="6130461"/>
              <a:chOff x="310444" y="293203"/>
              <a:chExt cx="8539752" cy="6230679"/>
            </a:xfrm>
          </p:grpSpPr>
          <p:sp>
            <p:nvSpPr>
              <p:cNvPr id="3" name="Rectangle : coins arrondis 2">
                <a:extLst>
                  <a:ext uri="{FF2B5EF4-FFF2-40B4-BE49-F238E27FC236}">
                    <a16:creationId xmlns:a16="http://schemas.microsoft.com/office/drawing/2014/main" id="{EB5E3C00-0504-3D34-3CB8-9AC6028C5D92}"/>
                  </a:ext>
                </a:extLst>
              </p:cNvPr>
              <p:cNvSpPr/>
              <p:nvPr/>
            </p:nvSpPr>
            <p:spPr>
              <a:xfrm>
                <a:off x="331229" y="293203"/>
                <a:ext cx="8518967" cy="6230679"/>
              </a:xfrm>
              <a:prstGeom prst="roundRect">
                <a:avLst>
                  <a:gd name="adj" fmla="val 1963"/>
                </a:avLst>
              </a:prstGeom>
              <a:solidFill>
                <a:schemeClr val="bg1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6" name="Rectangle : coins arrondis 5">
                <a:extLst>
                  <a:ext uri="{FF2B5EF4-FFF2-40B4-BE49-F238E27FC236}">
                    <a16:creationId xmlns:a16="http://schemas.microsoft.com/office/drawing/2014/main" id="{AB175A06-1277-5701-781F-FE957BC8D8C6}"/>
                  </a:ext>
                </a:extLst>
              </p:cNvPr>
              <p:cNvSpPr/>
              <p:nvPr/>
            </p:nvSpPr>
            <p:spPr>
              <a:xfrm>
                <a:off x="310444" y="293203"/>
                <a:ext cx="8496000" cy="797442"/>
              </a:xfrm>
              <a:prstGeom prst="roundRect">
                <a:avLst>
                  <a:gd name="adj" fmla="val 18771"/>
                </a:avLst>
              </a:prstGeom>
              <a:solidFill>
                <a:schemeClr val="bg1">
                  <a:lumMod val="95000"/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</p:grpSp>
        <p:pic>
          <p:nvPicPr>
            <p:cNvPr id="7" name="Graphique 6">
              <a:extLst>
                <a:ext uri="{FF2B5EF4-FFF2-40B4-BE49-F238E27FC236}">
                  <a16:creationId xmlns:a16="http://schemas.microsoft.com/office/drawing/2014/main" id="{00F70A88-3199-73E0-243F-3CD96CAB1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flipH="1">
              <a:off x="8260044" y="572478"/>
              <a:ext cx="344372" cy="328748"/>
            </a:xfrm>
            <a:prstGeom prst="rect">
              <a:avLst/>
            </a:prstGeom>
          </p:spPr>
        </p:pic>
      </p:grpSp>
      <p:sp>
        <p:nvSpPr>
          <p:cNvPr id="8" name="Rectangle : coins arrondis 20">
            <a:extLst>
              <a:ext uri="{FF2B5EF4-FFF2-40B4-BE49-F238E27FC236}">
                <a16:creationId xmlns:a16="http://schemas.microsoft.com/office/drawing/2014/main" id="{9609D7A3-9C17-31F8-C2CE-553499B54AA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97738" y="4760601"/>
            <a:ext cx="1238005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دفتر البحث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10" name="Rectangle : coins arrondis 20">
            <a:extLst>
              <a:ext uri="{FF2B5EF4-FFF2-40B4-BE49-F238E27FC236}">
                <a16:creationId xmlns:a16="http://schemas.microsoft.com/office/drawing/2014/main" id="{3FF9F474-38C6-5007-E951-0D384532F15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176986" y="4760601"/>
            <a:ext cx="151828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قلم الرصاص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18" name="Rectangle : coins arrondis 20">
            <a:extLst>
              <a:ext uri="{FF2B5EF4-FFF2-40B4-BE49-F238E27FC236}">
                <a16:creationId xmlns:a16="http://schemas.microsoft.com/office/drawing/2014/main" id="{55A86E5E-9CAE-E889-0760-DA296CE710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297640" y="4760600"/>
            <a:ext cx="151828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اللوحة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19" name="Rectangle : coins arrondis 20">
            <a:extLst>
              <a:ext uri="{FF2B5EF4-FFF2-40B4-BE49-F238E27FC236}">
                <a16:creationId xmlns:a16="http://schemas.microsoft.com/office/drawing/2014/main" id="{2D95959A-3A75-6A6F-E5EF-738DAF6F791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97424" y="4760601"/>
            <a:ext cx="137332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كراسة المتعلم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24" name="Image 37" descr="Une image contenant texte, capture d’écran, ordinateur, Ordinateur tablette&#10;&#10;Description générée automatiquement">
            <a:extLst>
              <a:ext uri="{FF2B5EF4-FFF2-40B4-BE49-F238E27FC236}">
                <a16:creationId xmlns:a16="http://schemas.microsoft.com/office/drawing/2014/main" id="{D65D803C-AC0F-4DED-170A-F717AF5656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6" t="27978" r="11393" b="26448"/>
          <a:stretch/>
        </p:blipFill>
        <p:spPr>
          <a:xfrm>
            <a:off x="5675163" y="1774424"/>
            <a:ext cx="3125622" cy="2797919"/>
          </a:xfrm>
          <a:prstGeom prst="rect">
            <a:avLst/>
          </a:prstGeom>
        </p:spPr>
      </p:pic>
      <p:sp>
        <p:nvSpPr>
          <p:cNvPr id="25" name="ZoneTexte 13">
            <a:extLst>
              <a:ext uri="{FF2B5EF4-FFF2-40B4-BE49-F238E27FC236}">
                <a16:creationId xmlns:a16="http://schemas.microsoft.com/office/drawing/2014/main" id="{B4B8D3C7-65ED-BE41-6392-B6708876F99D}"/>
              </a:ext>
            </a:extLst>
          </p:cNvPr>
          <p:cNvSpPr txBox="1"/>
          <p:nvPr/>
        </p:nvSpPr>
        <p:spPr>
          <a:xfrm>
            <a:off x="468499" y="548033"/>
            <a:ext cx="7806610" cy="3588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ضعوا أدواتكم على الطاولة : اللوحة، </a:t>
            </a:r>
            <a:r>
              <a:rPr kumimoji="0" lang="ar-MA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كراسة، دفتر البحث، 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قلم الرصاص.</a:t>
            </a:r>
            <a:endParaRPr kumimoji="0" lang="fr-MA" sz="16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A188084-B4F4-F977-3A91-40AB7EE775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952404">
            <a:off x="452894" y="486765"/>
            <a:ext cx="900883" cy="820940"/>
          </a:xfrm>
          <a:prstGeom prst="rect">
            <a:avLst/>
          </a:prstGeom>
        </p:spPr>
      </p:pic>
      <p:pic>
        <p:nvPicPr>
          <p:cNvPr id="2" name="Picture 2" descr="صور قلم رصاص PNG الصور | ناقل و PSD الملفات | تحميل مجاني على Pngtree">
            <a:extLst>
              <a:ext uri="{FF2B5EF4-FFF2-40B4-BE49-F238E27FC236}">
                <a16:creationId xmlns:a16="http://schemas.microsoft.com/office/drawing/2014/main" id="{F780B68F-6A1B-5FCB-B319-12E089FED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94831">
            <a:off x="2096605" y="2520907"/>
            <a:ext cx="1444578" cy="1444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FD2C129-C034-A7BD-8CA6-98592871752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1138972">
            <a:off x="381395" y="2412441"/>
            <a:ext cx="1986324" cy="196224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49186D75-A2BB-12A4-ACAE-6F52F837F34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708426">
            <a:off x="3498318" y="2161625"/>
            <a:ext cx="1579939" cy="2133420"/>
          </a:xfrm>
          <a:prstGeom prst="rect">
            <a:avLst/>
          </a:prstGeom>
        </p:spPr>
      </p:pic>
      <p:pic>
        <p:nvPicPr>
          <p:cNvPr id="12" name="Image 3">
            <a:extLst>
              <a:ext uri="{FF2B5EF4-FFF2-40B4-BE49-F238E27FC236}">
                <a16:creationId xmlns:a16="http://schemas.microsoft.com/office/drawing/2014/main" id="{0C27061D-F0E0-DE28-47C7-50FF1A08F7E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337192">
            <a:off x="4239831" y="2146077"/>
            <a:ext cx="1447146" cy="2236116"/>
          </a:xfrm>
          <a:prstGeom prst="rect">
            <a:avLst/>
          </a:prstGeom>
        </p:spPr>
      </p:pic>
      <p:grpSp>
        <p:nvGrpSpPr>
          <p:cNvPr id="4" name="Groupe 13">
            <a:extLst>
              <a:ext uri="{FF2B5EF4-FFF2-40B4-BE49-F238E27FC236}">
                <a16:creationId xmlns:a16="http://schemas.microsoft.com/office/drawing/2014/main" id="{56AC9510-8FE5-E2CC-0994-CD755AD8EA9F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13" name="Rectangle : coins arrondis 14">
              <a:extLst>
                <a:ext uri="{FF2B5EF4-FFF2-40B4-BE49-F238E27FC236}">
                  <a16:creationId xmlns:a16="http://schemas.microsoft.com/office/drawing/2014/main" id="{DA817EEC-8842-A6F1-855A-00B1EE1549E6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14" name="Rectangle : coins arrondis 15">
              <a:extLst>
                <a:ext uri="{FF2B5EF4-FFF2-40B4-BE49-F238E27FC236}">
                  <a16:creationId xmlns:a16="http://schemas.microsoft.com/office/drawing/2014/main" id="{4D4B6117-0B2F-194A-69CC-D824B7A1DFE2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16" name="Rectangle : coins arrondis 16">
              <a:extLst>
                <a:ext uri="{FF2B5EF4-FFF2-40B4-BE49-F238E27FC236}">
                  <a16:creationId xmlns:a16="http://schemas.microsoft.com/office/drawing/2014/main" id="{44D3D4E1-66CB-3315-6AE0-417B7D7D1711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0" name="Rectangle : coins arrondis 17">
              <a:extLst>
                <a:ext uri="{FF2B5EF4-FFF2-40B4-BE49-F238E27FC236}">
                  <a16:creationId xmlns:a16="http://schemas.microsoft.com/office/drawing/2014/main" id="{143DD8B3-86AD-C343-2D08-7C95C4DE0FFB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1" name="Rectangle : coins arrondis 18">
              <a:extLst>
                <a:ext uri="{FF2B5EF4-FFF2-40B4-BE49-F238E27FC236}">
                  <a16:creationId xmlns:a16="http://schemas.microsoft.com/office/drawing/2014/main" id="{753C17C6-B05A-2E76-B5B5-56138C1CC5BB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20864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0DE928F-F603-D28E-B163-6C9C2E2F04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DE928F-F603-D28E-B163-6C9C2E2F04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ctr" defTabSz="609630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331640" y="926405"/>
            <a:ext cx="6858000" cy="453463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4" rtl="1"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افتتاح الحصة</a:t>
            </a:r>
          </a:p>
          <a:p>
            <a:pPr algn="ctr" defTabSz="685834" rtl="1">
              <a:defRPr/>
            </a:pPr>
            <a:endParaRPr lang="en-GB" sz="2667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أصحح أنشطتي المنزلية</a:t>
            </a:r>
          </a:p>
          <a:p>
            <a:pPr algn="ctr" defTabSz="685834" rtl="1">
              <a:defRPr/>
            </a:pPr>
            <a:endParaRPr lang="ar-MA" sz="3200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أحسب ذهنيا</a:t>
            </a:r>
          </a:p>
          <a:p>
            <a:pPr algn="ctr" defTabSz="685834" rtl="1">
              <a:defRPr/>
            </a:pPr>
            <a:endParaRPr lang="ar-MA" sz="3200" b="1" dirty="0">
              <a:solidFill>
                <a:prstClr val="white">
                  <a:lumMod val="75000"/>
                </a:prstClr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التناوب اللغوي</a:t>
            </a:r>
          </a:p>
          <a:p>
            <a:pPr algn="ctr" defTabSz="685834" rtl="1">
              <a:defRPr/>
            </a:pPr>
            <a:endParaRPr lang="ar-MA" sz="3200" b="1" dirty="0">
              <a:solidFill>
                <a:srgbClr val="3795AF"/>
              </a:solidFill>
              <a:latin typeface="Dosis" pitchFamily="2" charset="0"/>
              <a:cs typeface="Calibri" panose="020F0502020204030204" pitchFamily="34" charset="0"/>
            </a:endParaRPr>
          </a:p>
          <a:p>
            <a:pPr algn="ctr" defTabSz="685834" rtl="1">
              <a:defRPr/>
            </a:pPr>
            <a:r>
              <a:rPr lang="ar-MA" sz="3200" b="1" dirty="0">
                <a:solidFill>
                  <a:prstClr val="white">
                    <a:lumMod val="75000"/>
                  </a:prstClr>
                </a:solidFill>
                <a:latin typeface="Dosis" pitchFamily="2" charset="0"/>
                <a:cs typeface="Calibri" panose="020F0502020204030204" pitchFamily="34" charset="0"/>
              </a:rPr>
              <a:t>أنشط مستلزمات الدرس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/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/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1" name="Image 12">
            <a:extLst>
              <a:ext uri="{FF2B5EF4-FFF2-40B4-BE49-F238E27FC236}">
                <a16:creationId xmlns:a16="http://schemas.microsoft.com/office/drawing/2014/main" id="{A6DAC996-8C8E-46BF-7E05-12C0AE0BEEB7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495978" y="1905972"/>
            <a:ext cx="812326" cy="449702"/>
          </a:xfrm>
          <a:prstGeom prst="rect">
            <a:avLst/>
          </a:prstGeom>
        </p:spPr>
      </p:pic>
      <p:grpSp>
        <p:nvGrpSpPr>
          <p:cNvPr id="2" name="Group 67">
            <a:extLst>
              <a:ext uri="{FF2B5EF4-FFF2-40B4-BE49-F238E27FC236}">
                <a16:creationId xmlns:a16="http://schemas.microsoft.com/office/drawing/2014/main" id="{5E3FDD40-D404-B1A2-08E1-1ECB0A6222B8}"/>
              </a:ext>
            </a:extLst>
          </p:cNvPr>
          <p:cNvGrpSpPr/>
          <p:nvPr/>
        </p:nvGrpSpPr>
        <p:grpSpPr>
          <a:xfrm>
            <a:off x="1835696" y="1285430"/>
            <a:ext cx="1635152" cy="1477553"/>
            <a:chOff x="1324314" y="2022921"/>
            <a:chExt cx="1656987" cy="1643283"/>
          </a:xfrm>
        </p:grpSpPr>
        <p:pic>
          <p:nvPicPr>
            <p:cNvPr id="4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68D3DFD1-045A-7050-97F2-0B29945770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4" y="2022921"/>
              <a:ext cx="1643283" cy="1643283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F248BA7-DFA7-305F-59B6-7C84356435BC}"/>
                </a:ext>
              </a:extLst>
            </p:cNvPr>
            <p:cNvSpPr/>
            <p:nvPr/>
          </p:nvSpPr>
          <p:spPr>
            <a:xfrm>
              <a:off x="1398054" y="3203735"/>
              <a:ext cx="1583247" cy="4447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دقائق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54100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F8F56D-DC3F-64A8-E708-0D889E188B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4F9C4C4-647C-7828-28C9-CC7030B31404}"/>
              </a:ext>
            </a:extLst>
          </p:cNvPr>
          <p:cNvSpPr/>
          <p:nvPr/>
        </p:nvSpPr>
        <p:spPr>
          <a:xfrm>
            <a:off x="0" y="-10633"/>
            <a:ext cx="9144000" cy="6881075"/>
          </a:xfrm>
          <a:prstGeom prst="rect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37B451F9-6FFD-0135-9EC0-02A237609940}"/>
              </a:ext>
            </a:extLst>
          </p:cNvPr>
          <p:cNvGrpSpPr/>
          <p:nvPr/>
        </p:nvGrpSpPr>
        <p:grpSpPr>
          <a:xfrm>
            <a:off x="298960" y="383937"/>
            <a:ext cx="8518967" cy="6130461"/>
            <a:chOff x="298960" y="293203"/>
            <a:chExt cx="8518967" cy="6230679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D989FC1E-6248-1BD9-3800-9513D8450EF2}"/>
                </a:ext>
              </a:extLst>
            </p:cNvPr>
            <p:cNvSpPr/>
            <p:nvPr/>
          </p:nvSpPr>
          <p:spPr>
            <a:xfrm>
              <a:off x="298960" y="293203"/>
              <a:ext cx="8518967" cy="6230679"/>
            </a:xfrm>
            <a:prstGeom prst="roundRect">
              <a:avLst>
                <a:gd name="adj" fmla="val 1963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B4AD7274-E4AA-B43F-BFDF-AB6C5D605C8A}"/>
                </a:ext>
              </a:extLst>
            </p:cNvPr>
            <p:cNvSpPr/>
            <p:nvPr/>
          </p:nvSpPr>
          <p:spPr>
            <a:xfrm>
              <a:off x="310444" y="293203"/>
              <a:ext cx="8496000" cy="797442"/>
            </a:xfrm>
            <a:prstGeom prst="roundRect">
              <a:avLst>
                <a:gd name="adj" fmla="val 18771"/>
              </a:avLst>
            </a:prstGeom>
            <a:solidFill>
              <a:schemeClr val="bg1">
                <a:lumMod val="95000"/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7" name="Graphique 6">
            <a:extLst>
              <a:ext uri="{FF2B5EF4-FFF2-40B4-BE49-F238E27FC236}">
                <a16:creationId xmlns:a16="http://schemas.microsoft.com/office/drawing/2014/main" id="{9D126FE2-A301-25A0-AD87-63D6B0E1C5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260044" y="572478"/>
            <a:ext cx="344372" cy="32874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115F242A-3183-F423-1D10-81C18E336E66}"/>
              </a:ext>
            </a:extLst>
          </p:cNvPr>
          <p:cNvSpPr txBox="1"/>
          <p:nvPr/>
        </p:nvSpPr>
        <p:spPr>
          <a:xfrm>
            <a:off x="1605953" y="461452"/>
            <a:ext cx="6738290" cy="8418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</a:pPr>
            <a:r>
              <a:rPr lang="ar-MA" sz="16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بالنسبة للمستوى الخامس. من يشرح لنا ماهي العملية الأولى التي سنبدأ بها ثم ما العملية الثانية؟ لماذا؟ (هذه الشروحات لا يجب أن تتجاوز دقيقة واحدة)</a:t>
            </a:r>
          </a:p>
          <a:p>
            <a:pPr algn="just" rtl="1">
              <a:lnSpc>
                <a:spcPct val="115000"/>
              </a:lnSpc>
            </a:pPr>
            <a:r>
              <a:rPr lang="ar-MA" sz="1100" b="1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حالة خاصة، ربحاً للوقت يتم تقديم تصحيح الواجبات المنزلية في شريحة واحدة بالطريقة التالية.</a:t>
            </a:r>
          </a:p>
        </p:txBody>
      </p:sp>
      <p:grpSp>
        <p:nvGrpSpPr>
          <p:cNvPr id="4" name="Group 67">
            <a:extLst>
              <a:ext uri="{FF2B5EF4-FFF2-40B4-BE49-F238E27FC236}">
                <a16:creationId xmlns:a16="http://schemas.microsoft.com/office/drawing/2014/main" id="{A617062E-DF06-22C5-DAF8-7D1D3A4548EC}"/>
              </a:ext>
            </a:extLst>
          </p:cNvPr>
          <p:cNvGrpSpPr/>
          <p:nvPr/>
        </p:nvGrpSpPr>
        <p:grpSpPr>
          <a:xfrm>
            <a:off x="757117" y="-48915"/>
            <a:ext cx="1294603" cy="1374831"/>
            <a:chOff x="1324315" y="2022922"/>
            <a:chExt cx="1529041" cy="1529040"/>
          </a:xfrm>
        </p:grpSpPr>
        <p:pic>
          <p:nvPicPr>
            <p:cNvPr id="10" name="Picture 65" descr="A blue stopwatch on a black background&#10;&#10;Description automatically generated">
              <a:extLst>
                <a:ext uri="{FF2B5EF4-FFF2-40B4-BE49-F238E27FC236}">
                  <a16:creationId xmlns:a16="http://schemas.microsoft.com/office/drawing/2014/main" id="{FF49EDEE-6FE0-3BA7-70B4-05EBD7295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315" y="2022922"/>
              <a:ext cx="1529041" cy="1529040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E6398FC-0AD1-730D-C364-510265DB7860}"/>
                </a:ext>
              </a:extLst>
            </p:cNvPr>
            <p:cNvSpPr/>
            <p:nvPr/>
          </p:nvSpPr>
          <p:spPr>
            <a:xfrm>
              <a:off x="1610346" y="3071635"/>
              <a:ext cx="948573" cy="4447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/>
              <a:r>
                <a:rPr lang="ar-MA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دقيقة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6" name="ZoneTexte 15">
            <a:extLst>
              <a:ext uri="{FF2B5EF4-FFF2-40B4-BE49-F238E27FC236}">
                <a16:creationId xmlns:a16="http://schemas.microsoft.com/office/drawing/2014/main" id="{B48E49D1-AD5E-2BCB-AACC-1B83E38E17E0}"/>
              </a:ext>
            </a:extLst>
          </p:cNvPr>
          <p:cNvSpPr txBox="1"/>
          <p:nvPr/>
        </p:nvSpPr>
        <p:spPr>
          <a:xfrm>
            <a:off x="287476" y="1307083"/>
            <a:ext cx="8518967" cy="2769989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ar-MA" sz="5400" b="1" dirty="0">
              <a:solidFill>
                <a:srgbClr val="FF0000"/>
              </a:solidFill>
            </a:endParaRPr>
          </a:p>
          <a:p>
            <a:pPr algn="ctr"/>
            <a:endParaRPr lang="ar-MA" sz="6600" b="1" dirty="0">
              <a:solidFill>
                <a:srgbClr val="FF0000"/>
              </a:solidFill>
            </a:endParaRPr>
          </a:p>
          <a:p>
            <a:pPr algn="ctr"/>
            <a:endParaRPr lang="ar-MA" sz="5400" b="1" dirty="0">
              <a:solidFill>
                <a:srgbClr val="FF000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803407-7DC7-36EF-CB62-E0A59AEB30BC}"/>
              </a:ext>
            </a:extLst>
          </p:cNvPr>
          <p:cNvSpPr/>
          <p:nvPr/>
        </p:nvSpPr>
        <p:spPr>
          <a:xfrm>
            <a:off x="1514468" y="3135483"/>
            <a:ext cx="2337454" cy="360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r" rtl="1"/>
            <a:r>
              <a:rPr lang="ar-MA" sz="1600" b="1" dirty="0">
                <a:solidFill>
                  <a:srgbClr val="FF0000"/>
                </a:solidFill>
              </a:rPr>
              <a:t> 96           720        53 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023E2-996C-14A1-F857-C86C2F8EEE96}"/>
              </a:ext>
            </a:extLst>
          </p:cNvPr>
          <p:cNvSpPr/>
          <p:nvPr/>
        </p:nvSpPr>
        <p:spPr>
          <a:xfrm>
            <a:off x="1548747" y="3634054"/>
            <a:ext cx="2337454" cy="360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r" rtl="1"/>
            <a:r>
              <a:rPr lang="ar-MA" sz="1600" b="1" dirty="0">
                <a:solidFill>
                  <a:srgbClr val="FF0000"/>
                </a:solidFill>
              </a:rPr>
              <a:t> 150          307        9 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7DA366B-91DB-E8D2-6A13-EDE19EC44EF2}"/>
              </a:ext>
            </a:extLst>
          </p:cNvPr>
          <p:cNvSpPr/>
          <p:nvPr/>
        </p:nvSpPr>
        <p:spPr>
          <a:xfrm>
            <a:off x="7162412" y="3200867"/>
            <a:ext cx="982878" cy="360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FF0000"/>
                </a:solidFill>
              </a:rPr>
              <a:t>3    0    9</a:t>
            </a:r>
          </a:p>
        </p:txBody>
      </p:sp>
      <p:grpSp>
        <p:nvGrpSpPr>
          <p:cNvPr id="20" name="Groupe 13">
            <a:extLst>
              <a:ext uri="{FF2B5EF4-FFF2-40B4-BE49-F238E27FC236}">
                <a16:creationId xmlns:a16="http://schemas.microsoft.com/office/drawing/2014/main" id="{3A3A14BD-CA9C-66B4-A84C-0AA34A336DD1}"/>
              </a:ext>
            </a:extLst>
          </p:cNvPr>
          <p:cNvGrpSpPr/>
          <p:nvPr/>
        </p:nvGrpSpPr>
        <p:grpSpPr>
          <a:xfrm>
            <a:off x="337556" y="35103"/>
            <a:ext cx="8468888" cy="324000"/>
            <a:chOff x="312517" y="-3809"/>
            <a:chExt cx="8468888" cy="360000"/>
          </a:xfrm>
          <a:noFill/>
        </p:grpSpPr>
        <p:sp>
          <p:nvSpPr>
            <p:cNvPr id="24" name="Rectangle : coins arrondis 14">
              <a:extLst>
                <a:ext uri="{FF2B5EF4-FFF2-40B4-BE49-F238E27FC236}">
                  <a16:creationId xmlns:a16="http://schemas.microsoft.com/office/drawing/2014/main" id="{142225AA-ADB3-ECB5-655A-311A3293EF63}"/>
                </a:ext>
              </a:extLst>
            </p:cNvPr>
            <p:cNvSpPr/>
            <p:nvPr/>
          </p:nvSpPr>
          <p:spPr>
            <a:xfrm>
              <a:off x="312517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. اختــــــــــتام الحـــــصة</a:t>
              </a:r>
            </a:p>
          </p:txBody>
        </p:sp>
        <p:sp>
          <p:nvSpPr>
            <p:cNvPr id="25" name="Rectangle : coins arrondis 15">
              <a:extLst>
                <a:ext uri="{FF2B5EF4-FFF2-40B4-BE49-F238E27FC236}">
                  <a16:creationId xmlns:a16="http://schemas.microsoft.com/office/drawing/2014/main" id="{1390A4E5-8616-6BBC-4768-361F9FC92826}"/>
                </a:ext>
              </a:extLst>
            </p:cNvPr>
            <p:cNvSpPr/>
            <p:nvPr/>
          </p:nvSpPr>
          <p:spPr>
            <a:xfrm>
              <a:off x="2015739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4. الممارسة المستقلة</a:t>
              </a:r>
            </a:p>
          </p:txBody>
        </p:sp>
        <p:sp>
          <p:nvSpPr>
            <p:cNvPr id="26" name="Rectangle : coins arrondis 16">
              <a:extLst>
                <a:ext uri="{FF2B5EF4-FFF2-40B4-BE49-F238E27FC236}">
                  <a16:creationId xmlns:a16="http://schemas.microsoft.com/office/drawing/2014/main" id="{2BA0EB6F-3C97-B2ED-5774-C5372ED1C223}"/>
                </a:ext>
              </a:extLst>
            </p:cNvPr>
            <p:cNvSpPr/>
            <p:nvPr/>
          </p:nvSpPr>
          <p:spPr>
            <a:xfrm>
              <a:off x="3718961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3. الممارسة الموجهة</a:t>
              </a:r>
            </a:p>
          </p:txBody>
        </p:sp>
        <p:sp>
          <p:nvSpPr>
            <p:cNvPr id="28" name="Rectangle : coins arrondis 17">
              <a:extLst>
                <a:ext uri="{FF2B5EF4-FFF2-40B4-BE49-F238E27FC236}">
                  <a16:creationId xmlns:a16="http://schemas.microsoft.com/office/drawing/2014/main" id="{AADAC6C3-B2E8-0BD5-DB69-7E696498B7A7}"/>
                </a:ext>
              </a:extLst>
            </p:cNvPr>
            <p:cNvSpPr/>
            <p:nvPr/>
          </p:nvSpPr>
          <p:spPr>
            <a:xfrm>
              <a:off x="5422183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chemeClr val="bg1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. النمذجة</a:t>
              </a:r>
            </a:p>
          </p:txBody>
        </p:sp>
        <p:sp>
          <p:nvSpPr>
            <p:cNvPr id="29" name="Rectangle : coins arrondis 18">
              <a:extLst>
                <a:ext uri="{FF2B5EF4-FFF2-40B4-BE49-F238E27FC236}">
                  <a16:creationId xmlns:a16="http://schemas.microsoft.com/office/drawing/2014/main" id="{8245E138-E9D4-5B31-158D-AEF7217FC33F}"/>
                </a:ext>
              </a:extLst>
            </p:cNvPr>
            <p:cNvSpPr/>
            <p:nvPr/>
          </p:nvSpPr>
          <p:spPr>
            <a:xfrm>
              <a:off x="7125405" y="-3809"/>
              <a:ext cx="1656000" cy="360000"/>
            </a:xfrm>
            <a:prstGeom prst="roundRect">
              <a:avLst/>
            </a:prstGeom>
            <a:solidFill>
              <a:srgbClr val="D6E9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MA" sz="2000" b="1" dirty="0">
                  <a:solidFill>
                    <a:srgbClr val="10658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. افتتــــــــاح  الحــــصة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8A8F249B-1008-A899-3106-84A296EC3229}"/>
              </a:ext>
            </a:extLst>
          </p:cNvPr>
          <p:cNvSpPr/>
          <p:nvPr/>
        </p:nvSpPr>
        <p:spPr>
          <a:xfrm>
            <a:off x="2472642" y="3482282"/>
            <a:ext cx="2448272" cy="360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FF0000"/>
                </a:solidFill>
              </a:rPr>
              <a:t>221        88       309  </a:t>
            </a:r>
          </a:p>
        </p:txBody>
      </p:sp>
      <p:pic>
        <p:nvPicPr>
          <p:cNvPr id="43" name="Image 42">
            <a:extLst>
              <a:ext uri="{FF2B5EF4-FFF2-40B4-BE49-F238E27FC236}">
                <a16:creationId xmlns:a16="http://schemas.microsoft.com/office/drawing/2014/main" id="{823621B1-B02F-BD20-9878-6348948BF9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245" y="1390790"/>
            <a:ext cx="7794187" cy="2603297"/>
          </a:xfrm>
          <a:prstGeom prst="rect">
            <a:avLst/>
          </a:prstGeom>
        </p:spPr>
      </p:pic>
      <p:pic>
        <p:nvPicPr>
          <p:cNvPr id="44" name="Image 43" descr="Une image contenant Police, Graphique, logo, texte&#10;&#10;Le contenu généré par l’IA peut être incorrect.">
            <a:extLst>
              <a:ext uri="{FF2B5EF4-FFF2-40B4-BE49-F238E27FC236}">
                <a16:creationId xmlns:a16="http://schemas.microsoft.com/office/drawing/2014/main" id="{E1C256F2-E001-CA9B-B474-85265FF610F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2" y="1350810"/>
            <a:ext cx="674441" cy="825643"/>
          </a:xfrm>
          <a:prstGeom prst="rect">
            <a:avLst/>
          </a:prstGeom>
        </p:spPr>
      </p:pic>
      <p:pic>
        <p:nvPicPr>
          <p:cNvPr id="45" name="Image 2">
            <a:extLst>
              <a:ext uri="{FF2B5EF4-FFF2-40B4-BE49-F238E27FC236}">
                <a16:creationId xmlns:a16="http://schemas.microsoft.com/office/drawing/2014/main" id="{2C42B83F-58EB-EEEC-EEB4-3BDE4A26BB1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6" b="836"/>
          <a:stretch/>
        </p:blipFill>
        <p:spPr>
          <a:xfrm>
            <a:off x="130321" y="334878"/>
            <a:ext cx="1172302" cy="88922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DEB8034-B4E9-FE01-DBDE-1DE7E1BF1B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2200" y="2361978"/>
            <a:ext cx="114310" cy="16003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6D65157-148B-8F1D-212E-5782F90DD2BF}"/>
              </a:ext>
            </a:extLst>
          </p:cNvPr>
          <p:cNvSpPr/>
          <p:nvPr/>
        </p:nvSpPr>
        <p:spPr>
          <a:xfrm>
            <a:off x="6660232" y="2420888"/>
            <a:ext cx="144016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2816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521</TotalTime>
  <Words>3094</Words>
  <Application>Microsoft Office PowerPoint</Application>
  <PresentationFormat>Affichage à l'écran (4:3)</PresentationFormat>
  <Paragraphs>618</Paragraphs>
  <Slides>68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8</vt:i4>
      </vt:variant>
    </vt:vector>
  </HeadingPairs>
  <TitlesOfParts>
    <vt:vector size="79" baseType="lpstr">
      <vt:lpstr>A Massir Ballpoint</vt:lpstr>
      <vt:lpstr>Arial</vt:lpstr>
      <vt:lpstr>Calibri</vt:lpstr>
      <vt:lpstr>Air Strip Arabic</vt:lpstr>
      <vt:lpstr>Arimo Italics</vt:lpstr>
      <vt:lpstr>Microsoft Uighur</vt:lpstr>
      <vt:lpstr>Cambria</vt:lpstr>
      <vt:lpstr>Dosis</vt:lpstr>
      <vt:lpstr>Wingdings</vt:lpstr>
      <vt:lpstr>Thème Offic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lenovo</dc:creator>
  <cp:lastModifiedBy>SEMLALI HASSAN</cp:lastModifiedBy>
  <cp:revision>827</cp:revision>
  <dcterms:created xsi:type="dcterms:W3CDTF">2023-02-02T12:32:21Z</dcterms:created>
  <dcterms:modified xsi:type="dcterms:W3CDTF">2025-10-23T21:25:46Z</dcterms:modified>
</cp:coreProperties>
</file>